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56" r:id="rId1"/>
  </p:sldMasterIdLst>
  <p:notesMasterIdLst>
    <p:notesMasterId r:id="rId12"/>
  </p:notesMasterIdLst>
  <p:handoutMasterIdLst>
    <p:handoutMasterId r:id="rId13"/>
  </p:handoutMasterIdLst>
  <p:sldIdLst>
    <p:sldId id="348" r:id="rId2"/>
    <p:sldId id="309" r:id="rId3"/>
    <p:sldId id="11009" r:id="rId4"/>
    <p:sldId id="11060" r:id="rId5"/>
    <p:sldId id="11086" r:id="rId6"/>
    <p:sldId id="11098" r:id="rId7"/>
    <p:sldId id="11099" r:id="rId8"/>
    <p:sldId id="11100" r:id="rId9"/>
    <p:sldId id="11094" r:id="rId10"/>
    <p:sldId id="11084" r:id="rId11"/>
  </p:sldIdLst>
  <p:sldSz cx="12188825"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39" userDrawn="1">
          <p15:clr>
            <a:srgbClr val="A4A3A4"/>
          </p15:clr>
        </p15:guide>
        <p15:guide id="2" orient="horz" pos="2160">
          <p15:clr>
            <a:srgbClr val="A4A3A4"/>
          </p15:clr>
        </p15:guide>
        <p15:guide id="3" orient="horz" pos="2260" userDrawn="1">
          <p15:clr>
            <a:srgbClr val="A4A3A4"/>
          </p15:clr>
        </p15:guide>
        <p15:guide id="4" orient="horz" pos="23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Jim Kim" initials="JK" lastIdx="1" clrIdx="6">
    <p:extLst>
      <p:ext uri="{19B8F6BF-5375-455C-9EA6-DF929625EA0E}">
        <p15:presenceInfo xmlns:p15="http://schemas.microsoft.com/office/powerpoint/2012/main" userId="S::jimkim@adobe.com::8de73777-a8be-42df-9b2d-3ab667983e69" providerId="AD"/>
      </p:ext>
    </p:extLst>
  </p:cmAuthor>
  <p:cmAuthor id="1" name="Suzanne Wagner" initials="SW" lastIdx="21" clrIdx="0">
    <p:extLst>
      <p:ext uri="{19B8F6BF-5375-455C-9EA6-DF929625EA0E}">
        <p15:presenceInfo xmlns:p15="http://schemas.microsoft.com/office/powerpoint/2012/main" userId="S::sbriesen@adobe.com::65a23694-ef06-460b-9185-53030e0be94f" providerId="AD"/>
      </p:ext>
    </p:extLst>
  </p:cmAuthor>
  <p:cmAuthor id="8" name="Tina Randhawa" initials="TR" lastIdx="16" clrIdx="7">
    <p:extLst>
      <p:ext uri="{19B8F6BF-5375-455C-9EA6-DF929625EA0E}">
        <p15:presenceInfo xmlns:p15="http://schemas.microsoft.com/office/powerpoint/2012/main" userId="S::trandhaw@adobe.com::7933ed2d-794b-4417-86e4-587c9f4f2090" providerId="AD"/>
      </p:ext>
    </p:extLst>
  </p:cmAuthor>
  <p:cmAuthor id="2" name="Maninder Sawhney" initials="MS" lastIdx="43" clrIdx="1">
    <p:extLst>
      <p:ext uri="{19B8F6BF-5375-455C-9EA6-DF929625EA0E}">
        <p15:presenceInfo xmlns:p15="http://schemas.microsoft.com/office/powerpoint/2012/main" userId="S::masawhne@adobe.com::3d953bea-068e-42bc-a24e-b59fe44fcf2c" providerId="AD"/>
      </p:ext>
    </p:extLst>
  </p:cmAuthor>
  <p:cmAuthor id="9" name="Matt Wegner" initials="MW" lastIdx="9" clrIdx="8">
    <p:extLst>
      <p:ext uri="{19B8F6BF-5375-455C-9EA6-DF929625EA0E}">
        <p15:presenceInfo xmlns:p15="http://schemas.microsoft.com/office/powerpoint/2012/main" userId="S::mwegner@adobe.com::114e7f27-4bc9-4569-88f5-11e9439454cf" providerId="AD"/>
      </p:ext>
    </p:extLst>
  </p:cmAuthor>
  <p:cmAuthor id="3" name="Nathan Petersen" initials="NP" lastIdx="13" clrIdx="2">
    <p:extLst>
      <p:ext uri="{19B8F6BF-5375-455C-9EA6-DF929625EA0E}">
        <p15:presenceInfo xmlns:p15="http://schemas.microsoft.com/office/powerpoint/2012/main" userId="S::npeterse@adobe.com::8ea4d82b-ba51-4238-be75-651abcd66dd1" providerId="AD"/>
      </p:ext>
    </p:extLst>
  </p:cmAuthor>
  <p:cmAuthor id="10" name="Aman Gupta" initials="AG" lastIdx="1" clrIdx="9">
    <p:extLst>
      <p:ext uri="{19B8F6BF-5375-455C-9EA6-DF929625EA0E}">
        <p15:presenceInfo xmlns:p15="http://schemas.microsoft.com/office/powerpoint/2012/main" userId="S::amgup@adobe.com::3e7205c7-0841-45cf-9c27-fe0147817f99" providerId="AD"/>
      </p:ext>
    </p:extLst>
  </p:cmAuthor>
  <p:cmAuthor id="4" name="Mike Garcia" initials="MG" lastIdx="1" clrIdx="3">
    <p:extLst>
      <p:ext uri="{19B8F6BF-5375-455C-9EA6-DF929625EA0E}">
        <p15:presenceInfo xmlns:p15="http://schemas.microsoft.com/office/powerpoint/2012/main" userId="S::mikgarci@adobe.com::7b8fe8f8-493e-4bd3-8e31-1d199a52134c" providerId="AD"/>
      </p:ext>
    </p:extLst>
  </p:cmAuthor>
  <p:cmAuthor id="5" name="Dawn Murai" initials="DM" lastIdx="5" clrIdx="4">
    <p:extLst>
      <p:ext uri="{19B8F6BF-5375-455C-9EA6-DF929625EA0E}">
        <p15:presenceInfo xmlns:p15="http://schemas.microsoft.com/office/powerpoint/2012/main" userId="S::env54123@adobe.com::0f48a492-af49-4d0e-b6d1-6bcaf7177316" providerId="AD"/>
      </p:ext>
    </p:extLst>
  </p:cmAuthor>
  <p:cmAuthor id="6" name="David Ralston" initials="DR" lastIdx="3" clrIdx="5">
    <p:extLst>
      <p:ext uri="{19B8F6BF-5375-455C-9EA6-DF929625EA0E}">
        <p15:presenceInfo xmlns:p15="http://schemas.microsoft.com/office/powerpoint/2012/main" userId="S::dralston@adobe.com::a8ce52f7-ee01-4baf-9945-753841d9c2a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7471"/>
    <a:srgbClr val="FF4743"/>
    <a:srgbClr val="FA4C48"/>
    <a:srgbClr val="F5F5F5"/>
    <a:srgbClr val="FDEDED"/>
    <a:srgbClr val="FB7F75"/>
    <a:srgbClr val="F2A27E"/>
    <a:srgbClr val="81EC46"/>
    <a:srgbClr val="96F3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550DD9-A8EB-4A86-A944-9B580459D0F7}" v="2" dt="2022-11-04T04:00:30.6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539" autoAdjust="0"/>
    <p:restoredTop sz="93792" autoAdjust="0"/>
  </p:normalViewPr>
  <p:slideViewPr>
    <p:cSldViewPr snapToGrid="0" snapToObjects="1">
      <p:cViewPr varScale="1">
        <p:scale>
          <a:sx n="67" d="100"/>
          <a:sy n="67" d="100"/>
        </p:scale>
        <p:origin x="736" y="44"/>
      </p:cViewPr>
      <p:guideLst>
        <p:guide pos="3839"/>
        <p:guide orient="horz" pos="2160"/>
        <p:guide orient="horz" pos="2260"/>
        <p:guide orient="horz" pos="23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179" d="100"/>
          <a:sy n="179" d="100"/>
        </p:scale>
        <p:origin x="-624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n Gupta" userId="3e7205c7-0841-45cf-9c27-fe0147817f99" providerId="ADAL" clId="{E157E2B6-883A-4EA0-ACA3-76D7FFA5E68D}"/>
    <pc:docChg chg="undo custSel addSld delSld modSld sldOrd">
      <pc:chgData name="Aman Gupta" userId="3e7205c7-0841-45cf-9c27-fe0147817f99" providerId="ADAL" clId="{E157E2B6-883A-4EA0-ACA3-76D7FFA5E68D}" dt="2021-10-06T12:46:11.213" v="3227" actId="20577"/>
      <pc:docMkLst>
        <pc:docMk/>
      </pc:docMkLst>
      <pc:sldChg chg="modSp modAnim">
        <pc:chgData name="Aman Gupta" userId="3e7205c7-0841-45cf-9c27-fe0147817f99" providerId="ADAL" clId="{E157E2B6-883A-4EA0-ACA3-76D7FFA5E68D}" dt="2021-10-01T07:42:59.844" v="2853" actId="20577"/>
        <pc:sldMkLst>
          <pc:docMk/>
          <pc:sldMk cId="540761844" sldId="309"/>
        </pc:sldMkLst>
        <pc:spChg chg="mod">
          <ac:chgData name="Aman Gupta" userId="3e7205c7-0841-45cf-9c27-fe0147817f99" providerId="ADAL" clId="{E157E2B6-883A-4EA0-ACA3-76D7FFA5E68D}" dt="2021-10-01T07:42:59.844" v="2853" actId="20577"/>
          <ac:spMkLst>
            <pc:docMk/>
            <pc:sldMk cId="540761844" sldId="309"/>
            <ac:spMk id="12" creationId="{0E6846BF-5C31-4E29-A8D4-3365775B7A6B}"/>
          </ac:spMkLst>
        </pc:spChg>
      </pc:sldChg>
      <pc:sldChg chg="modSp mod">
        <pc:chgData name="Aman Gupta" userId="3e7205c7-0841-45cf-9c27-fe0147817f99" providerId="ADAL" clId="{E157E2B6-883A-4EA0-ACA3-76D7FFA5E68D}" dt="2021-10-06T12:46:11.213" v="3227" actId="20577"/>
        <pc:sldMkLst>
          <pc:docMk/>
          <pc:sldMk cId="1260899688" sldId="348"/>
        </pc:sldMkLst>
        <pc:spChg chg="mod">
          <ac:chgData name="Aman Gupta" userId="3e7205c7-0841-45cf-9c27-fe0147817f99" providerId="ADAL" clId="{E157E2B6-883A-4EA0-ACA3-76D7FFA5E68D}" dt="2021-10-06T12:46:11.213" v="3227" actId="20577"/>
          <ac:spMkLst>
            <pc:docMk/>
            <pc:sldMk cId="1260899688" sldId="348"/>
            <ac:spMk id="3" creationId="{5C64304C-DDFE-4EBD-99BA-E26635B48276}"/>
          </ac:spMkLst>
        </pc:spChg>
        <pc:spChg chg="mod">
          <ac:chgData name="Aman Gupta" userId="3e7205c7-0841-45cf-9c27-fe0147817f99" providerId="ADAL" clId="{E157E2B6-883A-4EA0-ACA3-76D7FFA5E68D}" dt="2021-10-03T07:27:48.394" v="3036" actId="20577"/>
          <ac:spMkLst>
            <pc:docMk/>
            <pc:sldMk cId="1260899688" sldId="348"/>
            <ac:spMk id="9" creationId="{7F4B5F2D-CCEA-4B74-B83A-5BD8FCC190BE}"/>
          </ac:spMkLst>
        </pc:spChg>
      </pc:sldChg>
      <pc:sldChg chg="modSp mod modAnim">
        <pc:chgData name="Aman Gupta" userId="3e7205c7-0841-45cf-9c27-fe0147817f99" providerId="ADAL" clId="{E157E2B6-883A-4EA0-ACA3-76D7FFA5E68D}" dt="2021-10-03T09:22:33.706" v="3056" actId="2710"/>
        <pc:sldMkLst>
          <pc:docMk/>
          <pc:sldMk cId="2943083351" sldId="11009"/>
        </pc:sldMkLst>
        <pc:spChg chg="mod">
          <ac:chgData name="Aman Gupta" userId="3e7205c7-0841-45cf-9c27-fe0147817f99" providerId="ADAL" clId="{E157E2B6-883A-4EA0-ACA3-76D7FFA5E68D}" dt="2021-10-03T09:22:33.706" v="3056" actId="2710"/>
          <ac:spMkLst>
            <pc:docMk/>
            <pc:sldMk cId="2943083351" sldId="11009"/>
            <ac:spMk id="4" creationId="{A37EE582-5DAF-4ED9-881C-5F5EF78E8003}"/>
          </ac:spMkLst>
        </pc:spChg>
      </pc:sldChg>
      <pc:sldChg chg="modSp modAnim">
        <pc:chgData name="Aman Gupta" userId="3e7205c7-0841-45cf-9c27-fe0147817f99" providerId="ADAL" clId="{E157E2B6-883A-4EA0-ACA3-76D7FFA5E68D}" dt="2021-10-03T09:28:39.718" v="3074" actId="20577"/>
        <pc:sldMkLst>
          <pc:docMk/>
          <pc:sldMk cId="1125386356" sldId="11018"/>
        </pc:sldMkLst>
        <pc:spChg chg="mod">
          <ac:chgData name="Aman Gupta" userId="3e7205c7-0841-45cf-9c27-fe0147817f99" providerId="ADAL" clId="{E157E2B6-883A-4EA0-ACA3-76D7FFA5E68D}" dt="2021-10-03T09:28:39.718" v="3074" actId="20577"/>
          <ac:spMkLst>
            <pc:docMk/>
            <pc:sldMk cId="1125386356" sldId="11018"/>
            <ac:spMk id="4" creationId="{A37EE582-5DAF-4ED9-881C-5F5EF78E8003}"/>
          </ac:spMkLst>
        </pc:spChg>
      </pc:sldChg>
      <pc:sldChg chg="modSp mod">
        <pc:chgData name="Aman Gupta" userId="3e7205c7-0841-45cf-9c27-fe0147817f99" providerId="ADAL" clId="{E157E2B6-883A-4EA0-ACA3-76D7FFA5E68D}" dt="2021-10-03T07:53:56.771" v="3050" actId="12"/>
        <pc:sldMkLst>
          <pc:docMk/>
          <pc:sldMk cId="3498352487" sldId="11019"/>
        </pc:sldMkLst>
        <pc:spChg chg="mod">
          <ac:chgData name="Aman Gupta" userId="3e7205c7-0841-45cf-9c27-fe0147817f99" providerId="ADAL" clId="{E157E2B6-883A-4EA0-ACA3-76D7FFA5E68D}" dt="2021-10-03T07:53:45.221" v="3048" actId="14100"/>
          <ac:spMkLst>
            <pc:docMk/>
            <pc:sldMk cId="3498352487" sldId="11019"/>
            <ac:spMk id="9" creationId="{494CFF14-0F2B-4806-81CC-D3BEB1363681}"/>
          </ac:spMkLst>
        </pc:spChg>
        <pc:spChg chg="mod">
          <ac:chgData name="Aman Gupta" userId="3e7205c7-0841-45cf-9c27-fe0147817f99" providerId="ADAL" clId="{E157E2B6-883A-4EA0-ACA3-76D7FFA5E68D}" dt="2021-10-03T07:53:56.771" v="3050" actId="12"/>
          <ac:spMkLst>
            <pc:docMk/>
            <pc:sldMk cId="3498352487" sldId="11019"/>
            <ac:spMk id="11" creationId="{8715F329-A308-4D4F-A754-5EB33438F2C7}"/>
          </ac:spMkLst>
        </pc:spChg>
      </pc:sldChg>
      <pc:sldChg chg="modSp mod">
        <pc:chgData name="Aman Gupta" userId="3e7205c7-0841-45cf-9c27-fe0147817f99" providerId="ADAL" clId="{E157E2B6-883A-4EA0-ACA3-76D7FFA5E68D}" dt="2021-09-21T07:57:12.939" v="800" actId="20577"/>
        <pc:sldMkLst>
          <pc:docMk/>
          <pc:sldMk cId="4076619386" sldId="11021"/>
        </pc:sldMkLst>
        <pc:spChg chg="mod">
          <ac:chgData name="Aman Gupta" userId="3e7205c7-0841-45cf-9c27-fe0147817f99" providerId="ADAL" clId="{E157E2B6-883A-4EA0-ACA3-76D7FFA5E68D}" dt="2021-09-21T07:57:12.939" v="800" actId="20577"/>
          <ac:spMkLst>
            <pc:docMk/>
            <pc:sldMk cId="4076619386" sldId="11021"/>
            <ac:spMk id="3" creationId="{5F3DE17D-7A64-4D55-8039-A62D082DB0C0}"/>
          </ac:spMkLst>
        </pc:spChg>
      </pc:sldChg>
      <pc:sldChg chg="addSp delSp modSp mod">
        <pc:chgData name="Aman Gupta" userId="3e7205c7-0841-45cf-9c27-fe0147817f99" providerId="ADAL" clId="{E157E2B6-883A-4EA0-ACA3-76D7FFA5E68D}" dt="2021-10-03T09:40:03.311" v="3118" actId="207"/>
        <pc:sldMkLst>
          <pc:docMk/>
          <pc:sldMk cId="615059629" sldId="11035"/>
        </pc:sldMkLst>
        <pc:spChg chg="mod">
          <ac:chgData name="Aman Gupta" userId="3e7205c7-0841-45cf-9c27-fe0147817f99" providerId="ADAL" clId="{E157E2B6-883A-4EA0-ACA3-76D7FFA5E68D}" dt="2021-09-21T07:05:54.182" v="361" actId="20577"/>
          <ac:spMkLst>
            <pc:docMk/>
            <pc:sldMk cId="615059629" sldId="11035"/>
            <ac:spMk id="3" creationId="{B829BA79-B7B3-4C05-B571-107F4C45230B}"/>
          </ac:spMkLst>
        </pc:spChg>
        <pc:spChg chg="add mod">
          <ac:chgData name="Aman Gupta" userId="3e7205c7-0841-45cf-9c27-fe0147817f99" providerId="ADAL" clId="{E157E2B6-883A-4EA0-ACA3-76D7FFA5E68D}" dt="2021-10-03T09:40:03.311" v="3118" actId="207"/>
          <ac:spMkLst>
            <pc:docMk/>
            <pc:sldMk cId="615059629" sldId="11035"/>
            <ac:spMk id="8" creationId="{F263F23D-60F9-42C9-81C3-950FA79BC409}"/>
          </ac:spMkLst>
        </pc:spChg>
        <pc:picChg chg="add mod">
          <ac:chgData name="Aman Gupta" userId="3e7205c7-0841-45cf-9c27-fe0147817f99" providerId="ADAL" clId="{E157E2B6-883A-4EA0-ACA3-76D7FFA5E68D}" dt="2021-10-03T09:39:27.808" v="3115" actId="1076"/>
          <ac:picMkLst>
            <pc:docMk/>
            <pc:sldMk cId="615059629" sldId="11035"/>
            <ac:picMk id="6" creationId="{E8FAFC84-ED52-4B97-A312-754833145431}"/>
          </ac:picMkLst>
        </pc:picChg>
        <pc:picChg chg="del">
          <ac:chgData name="Aman Gupta" userId="3e7205c7-0841-45cf-9c27-fe0147817f99" providerId="ADAL" clId="{E157E2B6-883A-4EA0-ACA3-76D7FFA5E68D}" dt="2021-10-03T09:39:22.823" v="3113" actId="478"/>
          <ac:picMkLst>
            <pc:docMk/>
            <pc:sldMk cId="615059629" sldId="11035"/>
            <ac:picMk id="7" creationId="{521C670C-2923-4412-A228-38D10825F465}"/>
          </ac:picMkLst>
        </pc:picChg>
      </pc:sldChg>
      <pc:sldChg chg="addSp delSp modSp mod">
        <pc:chgData name="Aman Gupta" userId="3e7205c7-0841-45cf-9c27-fe0147817f99" providerId="ADAL" clId="{E157E2B6-883A-4EA0-ACA3-76D7FFA5E68D}" dt="2021-10-03T09:49:33.214" v="3217" actId="1076"/>
        <pc:sldMkLst>
          <pc:docMk/>
          <pc:sldMk cId="2014396360" sldId="11036"/>
        </pc:sldMkLst>
        <pc:spChg chg="mod">
          <ac:chgData name="Aman Gupta" userId="3e7205c7-0841-45cf-9c27-fe0147817f99" providerId="ADAL" clId="{E157E2B6-883A-4EA0-ACA3-76D7FFA5E68D}" dt="2021-10-03T09:49:15.296" v="3215" actId="20577"/>
          <ac:spMkLst>
            <pc:docMk/>
            <pc:sldMk cId="2014396360" sldId="11036"/>
            <ac:spMk id="9" creationId="{4723C916-4BB6-44D5-BFF3-6B55F566DE10}"/>
          </ac:spMkLst>
        </pc:spChg>
        <pc:picChg chg="del mod">
          <ac:chgData name="Aman Gupta" userId="3e7205c7-0841-45cf-9c27-fe0147817f99" providerId="ADAL" clId="{E157E2B6-883A-4EA0-ACA3-76D7FFA5E68D}" dt="2021-10-03T09:40:30.097" v="3119" actId="478"/>
          <ac:picMkLst>
            <pc:docMk/>
            <pc:sldMk cId="2014396360" sldId="11036"/>
            <ac:picMk id="3" creationId="{60924B26-1978-4FF8-8B2D-1CD41FD231BA}"/>
          </ac:picMkLst>
        </pc:picChg>
        <pc:picChg chg="add mod">
          <ac:chgData name="Aman Gupta" userId="3e7205c7-0841-45cf-9c27-fe0147817f99" providerId="ADAL" clId="{E157E2B6-883A-4EA0-ACA3-76D7FFA5E68D}" dt="2021-10-03T09:49:30.887" v="3216" actId="1076"/>
          <ac:picMkLst>
            <pc:docMk/>
            <pc:sldMk cId="2014396360" sldId="11036"/>
            <ac:picMk id="4" creationId="{04C79765-0A14-4E7D-AFD9-8288D39CB587}"/>
          </ac:picMkLst>
        </pc:picChg>
        <pc:picChg chg="add mod">
          <ac:chgData name="Aman Gupta" userId="3e7205c7-0841-45cf-9c27-fe0147817f99" providerId="ADAL" clId="{E157E2B6-883A-4EA0-ACA3-76D7FFA5E68D}" dt="2021-10-03T09:49:33.214" v="3217" actId="1076"/>
          <ac:picMkLst>
            <pc:docMk/>
            <pc:sldMk cId="2014396360" sldId="11036"/>
            <ac:picMk id="7" creationId="{DD0F2CFA-FA9C-4492-8B95-54110C895991}"/>
          </ac:picMkLst>
        </pc:picChg>
      </pc:sldChg>
      <pc:sldChg chg="addSp delSp modSp mod">
        <pc:chgData name="Aman Gupta" userId="3e7205c7-0841-45cf-9c27-fe0147817f99" providerId="ADAL" clId="{E157E2B6-883A-4EA0-ACA3-76D7FFA5E68D}" dt="2021-09-22T07:05:14.405" v="1622" actId="20577"/>
        <pc:sldMkLst>
          <pc:docMk/>
          <pc:sldMk cId="3637766180" sldId="11037"/>
        </pc:sldMkLst>
        <pc:spChg chg="mod">
          <ac:chgData name="Aman Gupta" userId="3e7205c7-0841-45cf-9c27-fe0147817f99" providerId="ADAL" clId="{E157E2B6-883A-4EA0-ACA3-76D7FFA5E68D}" dt="2021-09-21T07:59:52.617" v="821" actId="20577"/>
          <ac:spMkLst>
            <pc:docMk/>
            <pc:sldMk cId="3637766180" sldId="11037"/>
            <ac:spMk id="2" creationId="{87FA2B2B-474B-44F0-A92F-1C2D9850822D}"/>
          </ac:spMkLst>
        </pc:spChg>
        <pc:spChg chg="mod">
          <ac:chgData name="Aman Gupta" userId="3e7205c7-0841-45cf-9c27-fe0147817f99" providerId="ADAL" clId="{E157E2B6-883A-4EA0-ACA3-76D7FFA5E68D}" dt="2021-09-22T07:05:14.405" v="1622" actId="20577"/>
          <ac:spMkLst>
            <pc:docMk/>
            <pc:sldMk cId="3637766180" sldId="11037"/>
            <ac:spMk id="3" creationId="{B0A1EAD5-C308-4A25-8113-9CBA0709F53B}"/>
          </ac:spMkLst>
        </pc:spChg>
        <pc:spChg chg="del">
          <ac:chgData name="Aman Gupta" userId="3e7205c7-0841-45cf-9c27-fe0147817f99" providerId="ADAL" clId="{E157E2B6-883A-4EA0-ACA3-76D7FFA5E68D}" dt="2021-09-21T08:05:23.097" v="1239" actId="478"/>
          <ac:spMkLst>
            <pc:docMk/>
            <pc:sldMk cId="3637766180" sldId="11037"/>
            <ac:spMk id="8" creationId="{16219284-63D1-4B09-95A3-9F57E4592280}"/>
          </ac:spMkLst>
        </pc:spChg>
        <pc:picChg chg="add del mod">
          <ac:chgData name="Aman Gupta" userId="3e7205c7-0841-45cf-9c27-fe0147817f99" providerId="ADAL" clId="{E157E2B6-883A-4EA0-ACA3-76D7FFA5E68D}" dt="2021-09-21T08:14:12.689" v="1487" actId="478"/>
          <ac:picMkLst>
            <pc:docMk/>
            <pc:sldMk cId="3637766180" sldId="11037"/>
            <ac:picMk id="5" creationId="{87476FAB-BFEF-48C3-992A-92E3972AF913}"/>
          </ac:picMkLst>
        </pc:picChg>
      </pc:sldChg>
      <pc:sldChg chg="modSp">
        <pc:chgData name="Aman Gupta" userId="3e7205c7-0841-45cf-9c27-fe0147817f99" providerId="ADAL" clId="{E157E2B6-883A-4EA0-ACA3-76D7FFA5E68D}" dt="2021-09-21T07:04:01.079" v="258" actId="20577"/>
        <pc:sldMkLst>
          <pc:docMk/>
          <pc:sldMk cId="3546584619" sldId="11044"/>
        </pc:sldMkLst>
        <pc:graphicFrameChg chg="mod">
          <ac:chgData name="Aman Gupta" userId="3e7205c7-0841-45cf-9c27-fe0147817f99" providerId="ADAL" clId="{E157E2B6-883A-4EA0-ACA3-76D7FFA5E68D}" dt="2021-09-21T07:04:01.079" v="258" actId="20577"/>
          <ac:graphicFrameMkLst>
            <pc:docMk/>
            <pc:sldMk cId="3546584619" sldId="11044"/>
            <ac:graphicFrameMk id="6" creationId="{4AD62993-9209-4121-9614-2A827AE89EA6}"/>
          </ac:graphicFrameMkLst>
        </pc:graphicFrameChg>
      </pc:sldChg>
      <pc:sldChg chg="addSp delSp modSp new mod">
        <pc:chgData name="Aman Gupta" userId="3e7205c7-0841-45cf-9c27-fe0147817f99" providerId="ADAL" clId="{E157E2B6-883A-4EA0-ACA3-76D7FFA5E68D}" dt="2021-10-01T18:40:56.229" v="2939" actId="20577"/>
        <pc:sldMkLst>
          <pc:docMk/>
          <pc:sldMk cId="1245445022" sldId="11059"/>
        </pc:sldMkLst>
        <pc:spChg chg="mod">
          <ac:chgData name="Aman Gupta" userId="3e7205c7-0841-45cf-9c27-fe0147817f99" providerId="ADAL" clId="{E157E2B6-883A-4EA0-ACA3-76D7FFA5E68D}" dt="2021-09-21T06:57:41.349" v="149" actId="20577"/>
          <ac:spMkLst>
            <pc:docMk/>
            <pc:sldMk cId="1245445022" sldId="11059"/>
            <ac:spMk id="2" creationId="{02590833-81FD-4547-8DFE-7891404F1758}"/>
          </ac:spMkLst>
        </pc:spChg>
        <pc:spChg chg="del">
          <ac:chgData name="Aman Gupta" userId="3e7205c7-0841-45cf-9c27-fe0147817f99" providerId="ADAL" clId="{E157E2B6-883A-4EA0-ACA3-76D7FFA5E68D}" dt="2021-09-21T06:58:30.411" v="150" actId="3680"/>
          <ac:spMkLst>
            <pc:docMk/>
            <pc:sldMk cId="1245445022" sldId="11059"/>
            <ac:spMk id="3" creationId="{273216A3-A605-44A3-8311-B86E32BB6FD1}"/>
          </ac:spMkLst>
        </pc:spChg>
        <pc:graphicFrameChg chg="add mod ord modGraphic">
          <ac:chgData name="Aman Gupta" userId="3e7205c7-0841-45cf-9c27-fe0147817f99" providerId="ADAL" clId="{E157E2B6-883A-4EA0-ACA3-76D7FFA5E68D}" dt="2021-10-01T18:40:56.229" v="2939" actId="20577"/>
          <ac:graphicFrameMkLst>
            <pc:docMk/>
            <pc:sldMk cId="1245445022" sldId="11059"/>
            <ac:graphicFrameMk id="4" creationId="{D7A67204-47E4-4D51-BF55-E9C7C5EE0903}"/>
          </ac:graphicFrameMkLst>
        </pc:graphicFrameChg>
      </pc:sldChg>
      <pc:sldChg chg="addSp delSp modSp new mod modClrScheme chgLayout">
        <pc:chgData name="Aman Gupta" userId="3e7205c7-0841-45cf-9c27-fe0147817f99" providerId="ADAL" clId="{E157E2B6-883A-4EA0-ACA3-76D7FFA5E68D}" dt="2021-10-03T07:21:16.408" v="2964" actId="20577"/>
        <pc:sldMkLst>
          <pc:docMk/>
          <pc:sldMk cId="1099531114" sldId="11060"/>
        </pc:sldMkLst>
        <pc:spChg chg="del mod ord">
          <ac:chgData name="Aman Gupta" userId="3e7205c7-0841-45cf-9c27-fe0147817f99" providerId="ADAL" clId="{E157E2B6-883A-4EA0-ACA3-76D7FFA5E68D}" dt="2021-09-21T07:40:15.035" v="445" actId="700"/>
          <ac:spMkLst>
            <pc:docMk/>
            <pc:sldMk cId="1099531114" sldId="11060"/>
            <ac:spMk id="2" creationId="{BCEDB35F-1928-4B8E-B18E-08C81D8E1CA0}"/>
          </ac:spMkLst>
        </pc:spChg>
        <pc:spChg chg="del mod ord">
          <ac:chgData name="Aman Gupta" userId="3e7205c7-0841-45cf-9c27-fe0147817f99" providerId="ADAL" clId="{E157E2B6-883A-4EA0-ACA3-76D7FFA5E68D}" dt="2021-09-21T07:40:15.035" v="445" actId="700"/>
          <ac:spMkLst>
            <pc:docMk/>
            <pc:sldMk cId="1099531114" sldId="11060"/>
            <ac:spMk id="3" creationId="{8F1B080A-34CB-46B6-96E3-4F572A984861}"/>
          </ac:spMkLst>
        </pc:spChg>
        <pc:spChg chg="add del mod ord">
          <ac:chgData name="Aman Gupta" userId="3e7205c7-0841-45cf-9c27-fe0147817f99" providerId="ADAL" clId="{E157E2B6-883A-4EA0-ACA3-76D7FFA5E68D}" dt="2021-09-21T07:40:31.667" v="446" actId="700"/>
          <ac:spMkLst>
            <pc:docMk/>
            <pc:sldMk cId="1099531114" sldId="11060"/>
            <ac:spMk id="4" creationId="{2C92F290-835B-42E0-B777-29987039DAB5}"/>
          </ac:spMkLst>
        </pc:spChg>
        <pc:spChg chg="add del mod ord">
          <ac:chgData name="Aman Gupta" userId="3e7205c7-0841-45cf-9c27-fe0147817f99" providerId="ADAL" clId="{E157E2B6-883A-4EA0-ACA3-76D7FFA5E68D}" dt="2021-09-21T07:40:31.667" v="446" actId="700"/>
          <ac:spMkLst>
            <pc:docMk/>
            <pc:sldMk cId="1099531114" sldId="11060"/>
            <ac:spMk id="5" creationId="{F01D4954-2C01-430C-9CB2-4664CB170F72}"/>
          </ac:spMkLst>
        </pc:spChg>
        <pc:spChg chg="add mod ord">
          <ac:chgData name="Aman Gupta" userId="3e7205c7-0841-45cf-9c27-fe0147817f99" providerId="ADAL" clId="{E157E2B6-883A-4EA0-ACA3-76D7FFA5E68D}" dt="2021-09-21T07:47:34.931" v="534" actId="700"/>
          <ac:spMkLst>
            <pc:docMk/>
            <pc:sldMk cId="1099531114" sldId="11060"/>
            <ac:spMk id="6" creationId="{EAE2701A-ED69-4FD8-AE33-5CE23CC0145B}"/>
          </ac:spMkLst>
        </pc:spChg>
        <pc:spChg chg="add mod ord">
          <ac:chgData name="Aman Gupta" userId="3e7205c7-0841-45cf-9c27-fe0147817f99" providerId="ADAL" clId="{E157E2B6-883A-4EA0-ACA3-76D7FFA5E68D}" dt="2021-10-03T07:21:16.408" v="2964" actId="20577"/>
          <ac:spMkLst>
            <pc:docMk/>
            <pc:sldMk cId="1099531114" sldId="11060"/>
            <ac:spMk id="7" creationId="{C1474D69-FE17-4001-A64A-35CE2B1F295A}"/>
          </ac:spMkLst>
        </pc:spChg>
      </pc:sldChg>
      <pc:sldChg chg="addSp delSp modSp new mod">
        <pc:chgData name="Aman Gupta" userId="3e7205c7-0841-45cf-9c27-fe0147817f99" providerId="ADAL" clId="{E157E2B6-883A-4EA0-ACA3-76D7FFA5E68D}" dt="2021-09-21T07:48:07.885" v="550"/>
        <pc:sldMkLst>
          <pc:docMk/>
          <pc:sldMk cId="1129911167" sldId="11061"/>
        </pc:sldMkLst>
        <pc:spChg chg="mod">
          <ac:chgData name="Aman Gupta" userId="3e7205c7-0841-45cf-9c27-fe0147817f99" providerId="ADAL" clId="{E157E2B6-883A-4EA0-ACA3-76D7FFA5E68D}" dt="2021-09-21T07:47:56.958" v="549" actId="20577"/>
          <ac:spMkLst>
            <pc:docMk/>
            <pc:sldMk cId="1129911167" sldId="11061"/>
            <ac:spMk id="2" creationId="{790A756C-EE69-4DB6-BB7E-A8D2814C9F2F}"/>
          </ac:spMkLst>
        </pc:spChg>
        <pc:spChg chg="del">
          <ac:chgData name="Aman Gupta" userId="3e7205c7-0841-45cf-9c27-fe0147817f99" providerId="ADAL" clId="{E157E2B6-883A-4EA0-ACA3-76D7FFA5E68D}" dt="2021-09-21T07:48:07.885" v="550"/>
          <ac:spMkLst>
            <pc:docMk/>
            <pc:sldMk cId="1129911167" sldId="11061"/>
            <ac:spMk id="3" creationId="{0CF06720-36AD-4A07-AF79-F90190EA65B7}"/>
          </ac:spMkLst>
        </pc:spChg>
        <pc:picChg chg="add mod">
          <ac:chgData name="Aman Gupta" userId="3e7205c7-0841-45cf-9c27-fe0147817f99" providerId="ADAL" clId="{E157E2B6-883A-4EA0-ACA3-76D7FFA5E68D}" dt="2021-09-21T07:48:07.885" v="550"/>
          <ac:picMkLst>
            <pc:docMk/>
            <pc:sldMk cId="1129911167" sldId="11061"/>
            <ac:picMk id="4" creationId="{E3C8C958-0369-4571-8AAE-DC43014D26FD}"/>
          </ac:picMkLst>
        </pc:picChg>
      </pc:sldChg>
      <pc:sldChg chg="modSp new mod">
        <pc:chgData name="Aman Gupta" userId="3e7205c7-0841-45cf-9c27-fe0147817f99" providerId="ADAL" clId="{E157E2B6-883A-4EA0-ACA3-76D7FFA5E68D}" dt="2021-10-03T09:25:34.984" v="3057" actId="20577"/>
        <pc:sldMkLst>
          <pc:docMk/>
          <pc:sldMk cId="2607221231" sldId="11062"/>
        </pc:sldMkLst>
        <pc:spChg chg="mod">
          <ac:chgData name="Aman Gupta" userId="3e7205c7-0841-45cf-9c27-fe0147817f99" providerId="ADAL" clId="{E157E2B6-883A-4EA0-ACA3-76D7FFA5E68D}" dt="2021-09-21T07:52:57.952" v="683" actId="20577"/>
          <ac:spMkLst>
            <pc:docMk/>
            <pc:sldMk cId="2607221231" sldId="11062"/>
            <ac:spMk id="2" creationId="{C6BA4C7D-72A5-478A-86D9-146AC44EA14A}"/>
          </ac:spMkLst>
        </pc:spChg>
        <pc:spChg chg="mod">
          <ac:chgData name="Aman Gupta" userId="3e7205c7-0841-45cf-9c27-fe0147817f99" providerId="ADAL" clId="{E157E2B6-883A-4EA0-ACA3-76D7FFA5E68D}" dt="2021-10-03T09:25:34.984" v="3057" actId="20577"/>
          <ac:spMkLst>
            <pc:docMk/>
            <pc:sldMk cId="2607221231" sldId="11062"/>
            <ac:spMk id="3" creationId="{765FC0C9-A6AF-40CE-933A-8163EB8DDAA1}"/>
          </ac:spMkLst>
        </pc:spChg>
      </pc:sldChg>
      <pc:sldChg chg="addSp delSp modSp new del mod modClrScheme chgLayout">
        <pc:chgData name="Aman Gupta" userId="3e7205c7-0841-45cf-9c27-fe0147817f99" providerId="ADAL" clId="{E157E2B6-883A-4EA0-ACA3-76D7FFA5E68D}" dt="2021-09-22T07:33:20.329" v="2472" actId="47"/>
        <pc:sldMkLst>
          <pc:docMk/>
          <pc:sldMk cId="4035319154" sldId="11063"/>
        </pc:sldMkLst>
        <pc:spChg chg="del mod">
          <ac:chgData name="Aman Gupta" userId="3e7205c7-0841-45cf-9c27-fe0147817f99" providerId="ADAL" clId="{E157E2B6-883A-4EA0-ACA3-76D7FFA5E68D}" dt="2021-09-21T08:14:44.760" v="1493" actId="700"/>
          <ac:spMkLst>
            <pc:docMk/>
            <pc:sldMk cId="4035319154" sldId="11063"/>
            <ac:spMk id="2" creationId="{DDFC7C74-BBAD-4855-9AD0-2BFEEE3C7ECB}"/>
          </ac:spMkLst>
        </pc:spChg>
        <pc:spChg chg="del mod">
          <ac:chgData name="Aman Gupta" userId="3e7205c7-0841-45cf-9c27-fe0147817f99" providerId="ADAL" clId="{E157E2B6-883A-4EA0-ACA3-76D7FFA5E68D}" dt="2021-09-21T08:14:44.760" v="1493" actId="700"/>
          <ac:spMkLst>
            <pc:docMk/>
            <pc:sldMk cId="4035319154" sldId="11063"/>
            <ac:spMk id="3" creationId="{725084CF-A7AF-424D-B4CE-688D862E9EBA}"/>
          </ac:spMkLst>
        </pc:spChg>
        <pc:spChg chg="add mod ord">
          <ac:chgData name="Aman Gupta" userId="3e7205c7-0841-45cf-9c27-fe0147817f99" providerId="ADAL" clId="{E157E2B6-883A-4EA0-ACA3-76D7FFA5E68D}" dt="2021-09-21T08:16:05.464" v="1580" actId="20577"/>
          <ac:spMkLst>
            <pc:docMk/>
            <pc:sldMk cId="4035319154" sldId="11063"/>
            <ac:spMk id="4" creationId="{282CB3CA-7CC4-4693-B368-1D6BF95DD10B}"/>
          </ac:spMkLst>
        </pc:spChg>
        <pc:spChg chg="add del mod ord">
          <ac:chgData name="Aman Gupta" userId="3e7205c7-0841-45cf-9c27-fe0147817f99" providerId="ADAL" clId="{E157E2B6-883A-4EA0-ACA3-76D7FFA5E68D}" dt="2021-09-21T08:15:55.451" v="1568" actId="700"/>
          <ac:spMkLst>
            <pc:docMk/>
            <pc:sldMk cId="4035319154" sldId="11063"/>
            <ac:spMk id="5" creationId="{F16BC6DC-E30B-470C-B2C1-9D53F08B748F}"/>
          </ac:spMkLst>
        </pc:spChg>
      </pc:sldChg>
      <pc:sldChg chg="addSp delSp modSp new mod modNotesTx">
        <pc:chgData name="Aman Gupta" userId="3e7205c7-0841-45cf-9c27-fe0147817f99" providerId="ADAL" clId="{E157E2B6-883A-4EA0-ACA3-76D7FFA5E68D}" dt="2021-10-03T07:25:22.789" v="2991" actId="113"/>
        <pc:sldMkLst>
          <pc:docMk/>
          <pc:sldMk cId="1920271486" sldId="11064"/>
        </pc:sldMkLst>
        <pc:spChg chg="mod">
          <ac:chgData name="Aman Gupta" userId="3e7205c7-0841-45cf-9c27-fe0147817f99" providerId="ADAL" clId="{E157E2B6-883A-4EA0-ACA3-76D7FFA5E68D}" dt="2021-09-22T07:14:58.846" v="1669" actId="20577"/>
          <ac:spMkLst>
            <pc:docMk/>
            <pc:sldMk cId="1920271486" sldId="11064"/>
            <ac:spMk id="2" creationId="{578EA2DE-8B0B-4A19-A9BC-480AF7F6CD26}"/>
          </ac:spMkLst>
        </pc:spChg>
        <pc:spChg chg="mod">
          <ac:chgData name="Aman Gupta" userId="3e7205c7-0841-45cf-9c27-fe0147817f99" providerId="ADAL" clId="{E157E2B6-883A-4EA0-ACA3-76D7FFA5E68D}" dt="2021-10-03T07:25:22.789" v="2991" actId="113"/>
          <ac:spMkLst>
            <pc:docMk/>
            <pc:sldMk cId="1920271486" sldId="11064"/>
            <ac:spMk id="3" creationId="{A7AC23E8-095E-4DA8-9DF7-CC988268378A}"/>
          </ac:spMkLst>
        </pc:spChg>
        <pc:picChg chg="add mod">
          <ac:chgData name="Aman Gupta" userId="3e7205c7-0841-45cf-9c27-fe0147817f99" providerId="ADAL" clId="{E157E2B6-883A-4EA0-ACA3-76D7FFA5E68D}" dt="2021-09-22T07:21:13.982" v="1741" actId="1076"/>
          <ac:picMkLst>
            <pc:docMk/>
            <pc:sldMk cId="1920271486" sldId="11064"/>
            <ac:picMk id="5" creationId="{BE8699B1-DB07-4704-A369-CD013963D2A8}"/>
          </ac:picMkLst>
        </pc:picChg>
        <pc:picChg chg="add del">
          <ac:chgData name="Aman Gupta" userId="3e7205c7-0841-45cf-9c27-fe0147817f99" providerId="ADAL" clId="{E157E2B6-883A-4EA0-ACA3-76D7FFA5E68D}" dt="2021-09-22T07:22:28.010" v="1791" actId="22"/>
          <ac:picMkLst>
            <pc:docMk/>
            <pc:sldMk cId="1920271486" sldId="11064"/>
            <ac:picMk id="7" creationId="{CB7B22A8-6460-415D-B4B6-B054E24D1C0C}"/>
          </ac:picMkLst>
        </pc:picChg>
      </pc:sldChg>
      <pc:sldChg chg="addSp delSp modSp new mod modClrScheme chgLayout">
        <pc:chgData name="Aman Gupta" userId="3e7205c7-0841-45cf-9c27-fe0147817f99" providerId="ADAL" clId="{E157E2B6-883A-4EA0-ACA3-76D7FFA5E68D}" dt="2021-10-03T07:25:57.172" v="2997" actId="255"/>
        <pc:sldMkLst>
          <pc:docMk/>
          <pc:sldMk cId="1906191709" sldId="11065"/>
        </pc:sldMkLst>
        <pc:spChg chg="del mod ord">
          <ac:chgData name="Aman Gupta" userId="3e7205c7-0841-45cf-9c27-fe0147817f99" providerId="ADAL" clId="{E157E2B6-883A-4EA0-ACA3-76D7FFA5E68D}" dt="2021-09-22T07:22:50.544" v="1793" actId="700"/>
          <ac:spMkLst>
            <pc:docMk/>
            <pc:sldMk cId="1906191709" sldId="11065"/>
            <ac:spMk id="2" creationId="{76E8199A-9C5E-4BA7-8629-182377EA4F32}"/>
          </ac:spMkLst>
        </pc:spChg>
        <pc:spChg chg="del mod ord">
          <ac:chgData name="Aman Gupta" userId="3e7205c7-0841-45cf-9c27-fe0147817f99" providerId="ADAL" clId="{E157E2B6-883A-4EA0-ACA3-76D7FFA5E68D}" dt="2021-09-22T07:22:50.544" v="1793" actId="700"/>
          <ac:spMkLst>
            <pc:docMk/>
            <pc:sldMk cId="1906191709" sldId="11065"/>
            <ac:spMk id="3" creationId="{6F2E00B3-E09E-46D8-9C14-8D7B90C839BE}"/>
          </ac:spMkLst>
        </pc:spChg>
        <pc:spChg chg="add del mod ord">
          <ac:chgData name="Aman Gupta" userId="3e7205c7-0841-45cf-9c27-fe0147817f99" providerId="ADAL" clId="{E157E2B6-883A-4EA0-ACA3-76D7FFA5E68D}" dt="2021-09-22T07:23:24.028" v="1806" actId="21"/>
          <ac:spMkLst>
            <pc:docMk/>
            <pc:sldMk cId="1906191709" sldId="11065"/>
            <ac:spMk id="4" creationId="{321EC2BF-9F59-4831-8A6A-9666ACDC6CD5}"/>
          </ac:spMkLst>
        </pc:spChg>
        <pc:spChg chg="add del mod ord">
          <ac:chgData name="Aman Gupta" userId="3e7205c7-0841-45cf-9c27-fe0147817f99" providerId="ADAL" clId="{E157E2B6-883A-4EA0-ACA3-76D7FFA5E68D}" dt="2021-09-22T07:23:34.958" v="1808" actId="22"/>
          <ac:spMkLst>
            <pc:docMk/>
            <pc:sldMk cId="1906191709" sldId="11065"/>
            <ac:spMk id="5" creationId="{1DB34058-88BD-4B59-A8FE-49F071CD3CB2}"/>
          </ac:spMkLst>
        </pc:spChg>
        <pc:spChg chg="add mod ord">
          <ac:chgData name="Aman Gupta" userId="3e7205c7-0841-45cf-9c27-fe0147817f99" providerId="ADAL" clId="{E157E2B6-883A-4EA0-ACA3-76D7FFA5E68D}" dt="2021-10-03T07:25:57.172" v="2997" actId="255"/>
          <ac:spMkLst>
            <pc:docMk/>
            <pc:sldMk cId="1906191709" sldId="11065"/>
            <ac:spMk id="12" creationId="{3A1E3FAF-F242-456F-ADA6-1C82DC533855}"/>
          </ac:spMkLst>
        </pc:spChg>
        <pc:picChg chg="add del">
          <ac:chgData name="Aman Gupta" userId="3e7205c7-0841-45cf-9c27-fe0147817f99" providerId="ADAL" clId="{E157E2B6-883A-4EA0-ACA3-76D7FFA5E68D}" dt="2021-09-22T07:22:56.150" v="1795" actId="22"/>
          <ac:picMkLst>
            <pc:docMk/>
            <pc:sldMk cId="1906191709" sldId="11065"/>
            <ac:picMk id="7" creationId="{C60D0702-3390-4C1C-9C79-DB5966A77F4F}"/>
          </ac:picMkLst>
        </pc:picChg>
        <pc:picChg chg="add del mod ord">
          <ac:chgData name="Aman Gupta" userId="3e7205c7-0841-45cf-9c27-fe0147817f99" providerId="ADAL" clId="{E157E2B6-883A-4EA0-ACA3-76D7FFA5E68D}" dt="2021-09-22T07:23:17.590" v="1803" actId="22"/>
          <ac:picMkLst>
            <pc:docMk/>
            <pc:sldMk cId="1906191709" sldId="11065"/>
            <ac:picMk id="9" creationId="{189A5A23-5973-417F-88EC-1CC5ADCFD76C}"/>
          </ac:picMkLst>
        </pc:picChg>
        <pc:picChg chg="add mod ord">
          <ac:chgData name="Aman Gupta" userId="3e7205c7-0841-45cf-9c27-fe0147817f99" providerId="ADAL" clId="{E157E2B6-883A-4EA0-ACA3-76D7FFA5E68D}" dt="2021-09-22T07:24:32.104" v="1816" actId="1076"/>
          <ac:picMkLst>
            <pc:docMk/>
            <pc:sldMk cId="1906191709" sldId="11065"/>
            <ac:picMk id="11" creationId="{2282A337-FC9B-4892-A450-B9B11984F989}"/>
          </ac:picMkLst>
        </pc:picChg>
      </pc:sldChg>
      <pc:sldChg chg="addSp modSp new mod modNotesTx">
        <pc:chgData name="Aman Gupta" userId="3e7205c7-0841-45cf-9c27-fe0147817f99" providerId="ADAL" clId="{E157E2B6-883A-4EA0-ACA3-76D7FFA5E68D}" dt="2021-10-03T07:25:50.192" v="2996" actId="255"/>
        <pc:sldMkLst>
          <pc:docMk/>
          <pc:sldMk cId="3042911311" sldId="11066"/>
        </pc:sldMkLst>
        <pc:spChg chg="mod">
          <ac:chgData name="Aman Gupta" userId="3e7205c7-0841-45cf-9c27-fe0147817f99" providerId="ADAL" clId="{E157E2B6-883A-4EA0-ACA3-76D7FFA5E68D}" dt="2021-10-03T07:25:50.192" v="2996" actId="255"/>
          <ac:spMkLst>
            <pc:docMk/>
            <pc:sldMk cId="3042911311" sldId="11066"/>
            <ac:spMk id="2" creationId="{F9200104-5F4E-494F-9724-2B70156952ED}"/>
          </ac:spMkLst>
        </pc:spChg>
        <pc:spChg chg="mod">
          <ac:chgData name="Aman Gupta" userId="3e7205c7-0841-45cf-9c27-fe0147817f99" providerId="ADAL" clId="{E157E2B6-883A-4EA0-ACA3-76D7FFA5E68D}" dt="2021-09-22T07:32:12.534" v="2388" actId="20577"/>
          <ac:spMkLst>
            <pc:docMk/>
            <pc:sldMk cId="3042911311" sldId="11066"/>
            <ac:spMk id="3" creationId="{E02F8FB6-449C-4C7B-86F2-032DE9EEBE31}"/>
          </ac:spMkLst>
        </pc:spChg>
        <pc:picChg chg="add mod">
          <ac:chgData name="Aman Gupta" userId="3e7205c7-0841-45cf-9c27-fe0147817f99" providerId="ADAL" clId="{E157E2B6-883A-4EA0-ACA3-76D7FFA5E68D}" dt="2021-09-22T07:32:02.383" v="2381" actId="1076"/>
          <ac:picMkLst>
            <pc:docMk/>
            <pc:sldMk cId="3042911311" sldId="11066"/>
            <ac:picMk id="5" creationId="{C91F9F8B-867D-4FCE-BDA4-3A1E252B3BFA}"/>
          </ac:picMkLst>
        </pc:picChg>
      </pc:sldChg>
      <pc:sldChg chg="modSp mod">
        <pc:chgData name="Aman Gupta" userId="3e7205c7-0841-45cf-9c27-fe0147817f99" providerId="ADAL" clId="{E157E2B6-883A-4EA0-ACA3-76D7FFA5E68D}" dt="2021-10-03T07:22:21.767" v="2971" actId="113"/>
        <pc:sldMkLst>
          <pc:docMk/>
          <pc:sldMk cId="1286019933" sldId="11067"/>
        </pc:sldMkLst>
        <pc:spChg chg="mod">
          <ac:chgData name="Aman Gupta" userId="3e7205c7-0841-45cf-9c27-fe0147817f99" providerId="ADAL" clId="{E157E2B6-883A-4EA0-ACA3-76D7FFA5E68D}" dt="2021-10-03T07:22:21.767" v="2971" actId="113"/>
          <ac:spMkLst>
            <pc:docMk/>
            <pc:sldMk cId="1286019933" sldId="11067"/>
            <ac:spMk id="3" creationId="{D6957BC3-60AF-4EBC-934A-AC3A36CA645B}"/>
          </ac:spMkLst>
        </pc:spChg>
      </pc:sldChg>
      <pc:sldChg chg="modSp mod">
        <pc:chgData name="Aman Gupta" userId="3e7205c7-0841-45cf-9c27-fe0147817f99" providerId="ADAL" clId="{E157E2B6-883A-4EA0-ACA3-76D7FFA5E68D}" dt="2021-10-03T07:54:13.847" v="3051" actId="1076"/>
        <pc:sldMkLst>
          <pc:docMk/>
          <pc:sldMk cId="479642006" sldId="11068"/>
        </pc:sldMkLst>
        <pc:spChg chg="mod">
          <ac:chgData name="Aman Gupta" userId="3e7205c7-0841-45cf-9c27-fe0147817f99" providerId="ADAL" clId="{E157E2B6-883A-4EA0-ACA3-76D7FFA5E68D}" dt="2021-10-03T07:54:13.847" v="3051" actId="1076"/>
          <ac:spMkLst>
            <pc:docMk/>
            <pc:sldMk cId="479642006" sldId="11068"/>
            <ac:spMk id="2" creationId="{48358667-29BC-4F1B-88F5-5E9E4A23BED5}"/>
          </ac:spMkLst>
        </pc:spChg>
      </pc:sldChg>
      <pc:sldChg chg="modSp mod">
        <pc:chgData name="Aman Gupta" userId="3e7205c7-0841-45cf-9c27-fe0147817f99" providerId="ADAL" clId="{E157E2B6-883A-4EA0-ACA3-76D7FFA5E68D}" dt="2021-10-03T07:54:18.388" v="3052" actId="1076"/>
        <pc:sldMkLst>
          <pc:docMk/>
          <pc:sldMk cId="1936261597" sldId="11069"/>
        </pc:sldMkLst>
        <pc:spChg chg="mod">
          <ac:chgData name="Aman Gupta" userId="3e7205c7-0841-45cf-9c27-fe0147817f99" providerId="ADAL" clId="{E157E2B6-883A-4EA0-ACA3-76D7FFA5E68D}" dt="2021-10-03T07:54:18.388" v="3052" actId="1076"/>
          <ac:spMkLst>
            <pc:docMk/>
            <pc:sldMk cId="1936261597" sldId="11069"/>
            <ac:spMk id="2" creationId="{576D2C1A-C85F-4A7C-9A30-F7DA9987A0F2}"/>
          </ac:spMkLst>
        </pc:spChg>
      </pc:sldChg>
      <pc:sldChg chg="modSp mod">
        <pc:chgData name="Aman Gupta" userId="3e7205c7-0841-45cf-9c27-fe0147817f99" providerId="ADAL" clId="{E157E2B6-883A-4EA0-ACA3-76D7FFA5E68D}" dt="2021-10-03T07:54:22.379" v="3053" actId="1076"/>
        <pc:sldMkLst>
          <pc:docMk/>
          <pc:sldMk cId="2691673573" sldId="11070"/>
        </pc:sldMkLst>
        <pc:spChg chg="mod">
          <ac:chgData name="Aman Gupta" userId="3e7205c7-0841-45cf-9c27-fe0147817f99" providerId="ADAL" clId="{E157E2B6-883A-4EA0-ACA3-76D7FFA5E68D}" dt="2021-10-03T07:54:22.379" v="3053" actId="1076"/>
          <ac:spMkLst>
            <pc:docMk/>
            <pc:sldMk cId="2691673573" sldId="11070"/>
            <ac:spMk id="2" creationId="{6AD5D6C2-F972-4D38-946F-7BA55CA0AB0B}"/>
          </ac:spMkLst>
        </pc:spChg>
      </pc:sldChg>
      <pc:sldChg chg="modSp mod">
        <pc:chgData name="Aman Gupta" userId="3e7205c7-0841-45cf-9c27-fe0147817f99" providerId="ADAL" clId="{E157E2B6-883A-4EA0-ACA3-76D7FFA5E68D}" dt="2021-10-03T07:22:57.594" v="2976" actId="255"/>
        <pc:sldMkLst>
          <pc:docMk/>
          <pc:sldMk cId="2544723987" sldId="11071"/>
        </pc:sldMkLst>
        <pc:spChg chg="mod">
          <ac:chgData name="Aman Gupta" userId="3e7205c7-0841-45cf-9c27-fe0147817f99" providerId="ADAL" clId="{E157E2B6-883A-4EA0-ACA3-76D7FFA5E68D}" dt="2021-10-03T07:22:57.594" v="2976" actId="255"/>
          <ac:spMkLst>
            <pc:docMk/>
            <pc:sldMk cId="2544723987" sldId="11071"/>
            <ac:spMk id="2" creationId="{C349B6CD-CD6E-4BC6-89B0-5FDA5BD1BBDA}"/>
          </ac:spMkLst>
        </pc:spChg>
      </pc:sldChg>
      <pc:sldChg chg="modSp mod">
        <pc:chgData name="Aman Gupta" userId="3e7205c7-0841-45cf-9c27-fe0147817f99" providerId="ADAL" clId="{E157E2B6-883A-4EA0-ACA3-76D7FFA5E68D}" dt="2021-10-03T07:23:26.621" v="2980" actId="255"/>
        <pc:sldMkLst>
          <pc:docMk/>
          <pc:sldMk cId="372382927" sldId="11072"/>
        </pc:sldMkLst>
        <pc:spChg chg="mod">
          <ac:chgData name="Aman Gupta" userId="3e7205c7-0841-45cf-9c27-fe0147817f99" providerId="ADAL" clId="{E157E2B6-883A-4EA0-ACA3-76D7FFA5E68D}" dt="2021-10-03T07:23:26.621" v="2980" actId="255"/>
          <ac:spMkLst>
            <pc:docMk/>
            <pc:sldMk cId="372382927" sldId="11072"/>
            <ac:spMk id="2" creationId="{6BC7791D-46F7-439C-9395-3CFFD364D992}"/>
          </ac:spMkLst>
        </pc:spChg>
      </pc:sldChg>
      <pc:sldChg chg="modSp mod">
        <pc:chgData name="Aman Gupta" userId="3e7205c7-0841-45cf-9c27-fe0147817f99" providerId="ADAL" clId="{E157E2B6-883A-4EA0-ACA3-76D7FFA5E68D}" dt="2021-10-03T07:23:50.721" v="2984" actId="255"/>
        <pc:sldMkLst>
          <pc:docMk/>
          <pc:sldMk cId="2514995399" sldId="11073"/>
        </pc:sldMkLst>
        <pc:spChg chg="mod">
          <ac:chgData name="Aman Gupta" userId="3e7205c7-0841-45cf-9c27-fe0147817f99" providerId="ADAL" clId="{E157E2B6-883A-4EA0-ACA3-76D7FFA5E68D}" dt="2021-10-03T07:23:50.721" v="2984" actId="255"/>
          <ac:spMkLst>
            <pc:docMk/>
            <pc:sldMk cId="2514995399" sldId="11073"/>
            <ac:spMk id="2" creationId="{BD16BAB1-1664-41EA-905E-10D74F8D2779}"/>
          </ac:spMkLst>
        </pc:spChg>
      </pc:sldChg>
      <pc:sldChg chg="modSp mod">
        <pc:chgData name="Aman Gupta" userId="3e7205c7-0841-45cf-9c27-fe0147817f99" providerId="ADAL" clId="{E157E2B6-883A-4EA0-ACA3-76D7FFA5E68D}" dt="2021-10-03T09:36:00.885" v="3112" actId="207"/>
        <pc:sldMkLst>
          <pc:docMk/>
          <pc:sldMk cId="2614678542" sldId="11074"/>
        </pc:sldMkLst>
        <pc:spChg chg="mod">
          <ac:chgData name="Aman Gupta" userId="3e7205c7-0841-45cf-9c27-fe0147817f99" providerId="ADAL" clId="{E157E2B6-883A-4EA0-ACA3-76D7FFA5E68D}" dt="2021-10-03T09:36:00.885" v="3112" actId="207"/>
          <ac:spMkLst>
            <pc:docMk/>
            <pc:sldMk cId="2614678542" sldId="11074"/>
            <ac:spMk id="4" creationId="{2F52C01E-F80A-49E8-9E39-F83ADDA8A1CE}"/>
          </ac:spMkLst>
        </pc:spChg>
      </pc:sldChg>
      <pc:sldChg chg="modSp mod">
        <pc:chgData name="Aman Gupta" userId="3e7205c7-0841-45cf-9c27-fe0147817f99" providerId="ADAL" clId="{E157E2B6-883A-4EA0-ACA3-76D7FFA5E68D}" dt="2021-10-03T07:25:00.045" v="2987" actId="255"/>
        <pc:sldMkLst>
          <pc:docMk/>
          <pc:sldMk cId="2400895437" sldId="11075"/>
        </pc:sldMkLst>
        <pc:spChg chg="mod">
          <ac:chgData name="Aman Gupta" userId="3e7205c7-0841-45cf-9c27-fe0147817f99" providerId="ADAL" clId="{E157E2B6-883A-4EA0-ACA3-76D7FFA5E68D}" dt="2021-10-03T07:25:00.045" v="2987" actId="255"/>
          <ac:spMkLst>
            <pc:docMk/>
            <pc:sldMk cId="2400895437" sldId="11075"/>
            <ac:spMk id="3" creationId="{64C574B1-1C26-4182-A236-D35FFC2A9365}"/>
          </ac:spMkLst>
        </pc:spChg>
      </pc:sldChg>
      <pc:sldChg chg="del">
        <pc:chgData name="Aman Gupta" userId="3e7205c7-0841-45cf-9c27-fe0147817f99" providerId="ADAL" clId="{E157E2B6-883A-4EA0-ACA3-76D7FFA5E68D}" dt="2021-10-01T07:35:20.059" v="2806" actId="47"/>
        <pc:sldMkLst>
          <pc:docMk/>
          <pc:sldMk cId="19009139" sldId="11076"/>
        </pc:sldMkLst>
      </pc:sldChg>
      <pc:sldChg chg="del">
        <pc:chgData name="Aman Gupta" userId="3e7205c7-0841-45cf-9c27-fe0147817f99" providerId="ADAL" clId="{E157E2B6-883A-4EA0-ACA3-76D7FFA5E68D}" dt="2021-10-01T07:35:20.059" v="2806" actId="47"/>
        <pc:sldMkLst>
          <pc:docMk/>
          <pc:sldMk cId="1106304413" sldId="11077"/>
        </pc:sldMkLst>
      </pc:sldChg>
      <pc:sldChg chg="del">
        <pc:chgData name="Aman Gupta" userId="3e7205c7-0841-45cf-9c27-fe0147817f99" providerId="ADAL" clId="{E157E2B6-883A-4EA0-ACA3-76D7FFA5E68D}" dt="2021-10-01T07:35:20.059" v="2806" actId="47"/>
        <pc:sldMkLst>
          <pc:docMk/>
          <pc:sldMk cId="2761305908" sldId="11078"/>
        </pc:sldMkLst>
      </pc:sldChg>
      <pc:sldChg chg="modSp mod">
        <pc:chgData name="Aman Gupta" userId="3e7205c7-0841-45cf-9c27-fe0147817f99" providerId="ADAL" clId="{E157E2B6-883A-4EA0-ACA3-76D7FFA5E68D}" dt="2021-10-03T07:27:14.565" v="3029" actId="113"/>
        <pc:sldMkLst>
          <pc:docMk/>
          <pc:sldMk cId="3445500762" sldId="11079"/>
        </pc:sldMkLst>
        <pc:spChg chg="mod">
          <ac:chgData name="Aman Gupta" userId="3e7205c7-0841-45cf-9c27-fe0147817f99" providerId="ADAL" clId="{E157E2B6-883A-4EA0-ACA3-76D7FFA5E68D}" dt="2021-10-03T07:27:14.565" v="3029" actId="113"/>
          <ac:spMkLst>
            <pc:docMk/>
            <pc:sldMk cId="3445500762" sldId="11079"/>
            <ac:spMk id="3" creationId="{C741BA43-0350-4B1F-951F-FDF29F3A3717}"/>
          </ac:spMkLst>
        </pc:spChg>
      </pc:sldChg>
      <pc:sldChg chg="del">
        <pc:chgData name="Aman Gupta" userId="3e7205c7-0841-45cf-9c27-fe0147817f99" providerId="ADAL" clId="{E157E2B6-883A-4EA0-ACA3-76D7FFA5E68D}" dt="2021-10-01T06:32:07.523" v="2530" actId="47"/>
        <pc:sldMkLst>
          <pc:docMk/>
          <pc:sldMk cId="3086785707" sldId="11081"/>
        </pc:sldMkLst>
      </pc:sldChg>
      <pc:sldChg chg="modSp mod">
        <pc:chgData name="Aman Gupta" userId="3e7205c7-0841-45cf-9c27-fe0147817f99" providerId="ADAL" clId="{E157E2B6-883A-4EA0-ACA3-76D7FFA5E68D}" dt="2021-10-03T07:23:40.484" v="2982" actId="255"/>
        <pc:sldMkLst>
          <pc:docMk/>
          <pc:sldMk cId="4274521932" sldId="11082"/>
        </pc:sldMkLst>
        <pc:spChg chg="mod">
          <ac:chgData name="Aman Gupta" userId="3e7205c7-0841-45cf-9c27-fe0147817f99" providerId="ADAL" clId="{E157E2B6-883A-4EA0-ACA3-76D7FFA5E68D}" dt="2021-10-03T07:23:40.484" v="2982" actId="255"/>
          <ac:spMkLst>
            <pc:docMk/>
            <pc:sldMk cId="4274521932" sldId="11082"/>
            <ac:spMk id="2" creationId="{2AAEAD51-63A4-4940-94B0-A3CCC85F0AC3}"/>
          </ac:spMkLst>
        </pc:spChg>
      </pc:sldChg>
      <pc:sldChg chg="modSp new mod ord modAnim">
        <pc:chgData name="Aman Gupta" userId="3e7205c7-0841-45cf-9c27-fe0147817f99" providerId="ADAL" clId="{E157E2B6-883A-4EA0-ACA3-76D7FFA5E68D}" dt="2021-10-06T10:01:45.673" v="3225" actId="20577"/>
        <pc:sldMkLst>
          <pc:docMk/>
          <pc:sldMk cId="3777844181" sldId="11083"/>
        </pc:sldMkLst>
        <pc:spChg chg="mod">
          <ac:chgData name="Aman Gupta" userId="3e7205c7-0841-45cf-9c27-fe0147817f99" providerId="ADAL" clId="{E157E2B6-883A-4EA0-ACA3-76D7FFA5E68D}" dt="2021-10-01T06:17:17.683" v="2476"/>
          <ac:spMkLst>
            <pc:docMk/>
            <pc:sldMk cId="3777844181" sldId="11083"/>
            <ac:spMk id="2" creationId="{46691CE4-2135-4735-BA6C-5C4EAC74D689}"/>
          </ac:spMkLst>
        </pc:spChg>
        <pc:spChg chg="mod">
          <ac:chgData name="Aman Gupta" userId="3e7205c7-0841-45cf-9c27-fe0147817f99" providerId="ADAL" clId="{E157E2B6-883A-4EA0-ACA3-76D7FFA5E68D}" dt="2021-10-06T10:01:45.673" v="3225" actId="20577"/>
          <ac:spMkLst>
            <pc:docMk/>
            <pc:sldMk cId="3777844181" sldId="11083"/>
            <ac:spMk id="3" creationId="{E15EF86A-6E25-45A4-B2BF-8B29C0BDA4BA}"/>
          </ac:spMkLst>
        </pc:spChg>
      </pc:sldChg>
      <pc:sldChg chg="modSp new mod ord modAnim">
        <pc:chgData name="Aman Gupta" userId="3e7205c7-0841-45cf-9c27-fe0147817f99" providerId="ADAL" clId="{E157E2B6-883A-4EA0-ACA3-76D7FFA5E68D}" dt="2021-10-01T07:23:03.971" v="2780"/>
        <pc:sldMkLst>
          <pc:docMk/>
          <pc:sldMk cId="1150450026" sldId="11084"/>
        </pc:sldMkLst>
        <pc:spChg chg="mod">
          <ac:chgData name="Aman Gupta" userId="3e7205c7-0841-45cf-9c27-fe0147817f99" providerId="ADAL" clId="{E157E2B6-883A-4EA0-ACA3-76D7FFA5E68D}" dt="2021-10-01T06:23:15.268" v="2483"/>
          <ac:spMkLst>
            <pc:docMk/>
            <pc:sldMk cId="1150450026" sldId="11084"/>
            <ac:spMk id="2" creationId="{90D810FE-9061-4E9F-84D1-88405E14C43D}"/>
          </ac:spMkLst>
        </pc:spChg>
        <pc:spChg chg="mod">
          <ac:chgData name="Aman Gupta" userId="3e7205c7-0841-45cf-9c27-fe0147817f99" providerId="ADAL" clId="{E157E2B6-883A-4EA0-ACA3-76D7FFA5E68D}" dt="2021-10-01T06:28:19.468" v="2504" actId="14100"/>
          <ac:spMkLst>
            <pc:docMk/>
            <pc:sldMk cId="1150450026" sldId="11084"/>
            <ac:spMk id="3" creationId="{874D7F45-1B0F-4C50-8910-12AB54355089}"/>
          </ac:spMkLst>
        </pc:spChg>
      </pc:sldChg>
      <pc:sldChg chg="addSp modSp new mod ord modAnim">
        <pc:chgData name="Aman Gupta" userId="3e7205c7-0841-45cf-9c27-fe0147817f99" providerId="ADAL" clId="{E157E2B6-883A-4EA0-ACA3-76D7FFA5E68D}" dt="2021-10-01T07:24:05.925" v="2785"/>
        <pc:sldMkLst>
          <pc:docMk/>
          <pc:sldMk cId="1607422666" sldId="11085"/>
        </pc:sldMkLst>
        <pc:spChg chg="mod">
          <ac:chgData name="Aman Gupta" userId="3e7205c7-0841-45cf-9c27-fe0147817f99" providerId="ADAL" clId="{E157E2B6-883A-4EA0-ACA3-76D7FFA5E68D}" dt="2021-10-01T06:28:28.464" v="2508"/>
          <ac:spMkLst>
            <pc:docMk/>
            <pc:sldMk cId="1607422666" sldId="11085"/>
            <ac:spMk id="2" creationId="{5F5B0926-93A9-46FE-8707-78F053BAC43F}"/>
          </ac:spMkLst>
        </pc:spChg>
        <pc:spChg chg="mod">
          <ac:chgData name="Aman Gupta" userId="3e7205c7-0841-45cf-9c27-fe0147817f99" providerId="ADAL" clId="{E157E2B6-883A-4EA0-ACA3-76D7FFA5E68D}" dt="2021-10-01T06:31:58.556" v="2529" actId="20577"/>
          <ac:spMkLst>
            <pc:docMk/>
            <pc:sldMk cId="1607422666" sldId="11085"/>
            <ac:spMk id="3" creationId="{5760B89F-EE8B-4D52-AA3B-141C474AF0D6}"/>
          </ac:spMkLst>
        </pc:spChg>
        <pc:picChg chg="add mod">
          <ac:chgData name="Aman Gupta" userId="3e7205c7-0841-45cf-9c27-fe0147817f99" providerId="ADAL" clId="{E157E2B6-883A-4EA0-ACA3-76D7FFA5E68D}" dt="2021-10-01T06:31:33.347" v="2520" actId="1076"/>
          <ac:picMkLst>
            <pc:docMk/>
            <pc:sldMk cId="1607422666" sldId="11085"/>
            <ac:picMk id="5" creationId="{8CF3A495-3231-4742-B2F4-137569235C7F}"/>
          </ac:picMkLst>
        </pc:picChg>
      </pc:sldChg>
      <pc:sldChg chg="addSp delSp modSp new mod ord modAnim">
        <pc:chgData name="Aman Gupta" userId="3e7205c7-0841-45cf-9c27-fe0147817f99" providerId="ADAL" clId="{E157E2B6-883A-4EA0-ACA3-76D7FFA5E68D}" dt="2021-10-01T07:33:29.071" v="2805"/>
        <pc:sldMkLst>
          <pc:docMk/>
          <pc:sldMk cId="164383832" sldId="11086"/>
        </pc:sldMkLst>
        <pc:spChg chg="mod">
          <ac:chgData name="Aman Gupta" userId="3e7205c7-0841-45cf-9c27-fe0147817f99" providerId="ADAL" clId="{E157E2B6-883A-4EA0-ACA3-76D7FFA5E68D}" dt="2021-10-01T06:32:19.539" v="2534"/>
          <ac:spMkLst>
            <pc:docMk/>
            <pc:sldMk cId="164383832" sldId="11086"/>
            <ac:spMk id="2" creationId="{3431198B-4540-477F-A979-C69E800E8B81}"/>
          </ac:spMkLst>
        </pc:spChg>
        <pc:spChg chg="mod">
          <ac:chgData name="Aman Gupta" userId="3e7205c7-0841-45cf-9c27-fe0147817f99" providerId="ADAL" clId="{E157E2B6-883A-4EA0-ACA3-76D7FFA5E68D}" dt="2021-10-01T06:37:46.531" v="2553"/>
          <ac:spMkLst>
            <pc:docMk/>
            <pc:sldMk cId="164383832" sldId="11086"/>
            <ac:spMk id="3" creationId="{09C0D483-A36D-4B58-8675-E8F3591C0DD2}"/>
          </ac:spMkLst>
        </pc:spChg>
        <pc:picChg chg="add del mod">
          <ac:chgData name="Aman Gupta" userId="3e7205c7-0841-45cf-9c27-fe0147817f99" providerId="ADAL" clId="{E157E2B6-883A-4EA0-ACA3-76D7FFA5E68D}" dt="2021-10-01T06:36:51.627" v="2543" actId="478"/>
          <ac:picMkLst>
            <pc:docMk/>
            <pc:sldMk cId="164383832" sldId="11086"/>
            <ac:picMk id="5" creationId="{27ED8961-3898-44AD-9D62-4EF5BB0A09D9}"/>
          </ac:picMkLst>
        </pc:picChg>
        <pc:picChg chg="add mod">
          <ac:chgData name="Aman Gupta" userId="3e7205c7-0841-45cf-9c27-fe0147817f99" providerId="ADAL" clId="{E157E2B6-883A-4EA0-ACA3-76D7FFA5E68D}" dt="2021-10-01T06:37:10.838" v="2547" actId="1076"/>
          <ac:picMkLst>
            <pc:docMk/>
            <pc:sldMk cId="164383832" sldId="11086"/>
            <ac:picMk id="7" creationId="{0247B703-673F-4E4F-85EA-7316F04F0ECE}"/>
          </ac:picMkLst>
        </pc:picChg>
      </pc:sldChg>
      <pc:sldChg chg="addSp delSp modSp new mod ord modAnim">
        <pc:chgData name="Aman Gupta" userId="3e7205c7-0841-45cf-9c27-fe0147817f99" providerId="ADAL" clId="{E157E2B6-883A-4EA0-ACA3-76D7FFA5E68D}" dt="2021-10-01T07:31:46.419" v="2795"/>
        <pc:sldMkLst>
          <pc:docMk/>
          <pc:sldMk cId="2208973700" sldId="11087"/>
        </pc:sldMkLst>
        <pc:spChg chg="mod">
          <ac:chgData name="Aman Gupta" userId="3e7205c7-0841-45cf-9c27-fe0147817f99" providerId="ADAL" clId="{E157E2B6-883A-4EA0-ACA3-76D7FFA5E68D}" dt="2021-10-01T06:39:12.450" v="2559"/>
          <ac:spMkLst>
            <pc:docMk/>
            <pc:sldMk cId="2208973700" sldId="11087"/>
            <ac:spMk id="2" creationId="{67E32A8C-212D-4164-8869-E63FCB190A6F}"/>
          </ac:spMkLst>
        </pc:spChg>
        <pc:spChg chg="mod">
          <ac:chgData name="Aman Gupta" userId="3e7205c7-0841-45cf-9c27-fe0147817f99" providerId="ADAL" clId="{E157E2B6-883A-4EA0-ACA3-76D7FFA5E68D}" dt="2021-10-01T06:52:50.607" v="2655" actId="20577"/>
          <ac:spMkLst>
            <pc:docMk/>
            <pc:sldMk cId="2208973700" sldId="11087"/>
            <ac:spMk id="3" creationId="{F85D3A1D-6CE1-480D-99C1-31A631788A99}"/>
          </ac:spMkLst>
        </pc:spChg>
        <pc:picChg chg="add del mod">
          <ac:chgData name="Aman Gupta" userId="3e7205c7-0841-45cf-9c27-fe0147817f99" providerId="ADAL" clId="{E157E2B6-883A-4EA0-ACA3-76D7FFA5E68D}" dt="2021-10-01T06:51:26.783" v="2571" actId="478"/>
          <ac:picMkLst>
            <pc:docMk/>
            <pc:sldMk cId="2208973700" sldId="11087"/>
            <ac:picMk id="5" creationId="{7804180D-3E63-4499-A3CB-F9F860A0C2AF}"/>
          </ac:picMkLst>
        </pc:picChg>
        <pc:picChg chg="add mod">
          <ac:chgData name="Aman Gupta" userId="3e7205c7-0841-45cf-9c27-fe0147817f99" providerId="ADAL" clId="{E157E2B6-883A-4EA0-ACA3-76D7FFA5E68D}" dt="2021-10-01T06:51:50.953" v="2576" actId="1076"/>
          <ac:picMkLst>
            <pc:docMk/>
            <pc:sldMk cId="2208973700" sldId="11087"/>
            <ac:picMk id="7" creationId="{5365BCF3-E6DE-418B-BE79-3A143CEA3D92}"/>
          </ac:picMkLst>
        </pc:picChg>
      </pc:sldChg>
      <pc:sldChg chg="addSp modSp new mod ord modAnim">
        <pc:chgData name="Aman Gupta" userId="3e7205c7-0841-45cf-9c27-fe0147817f99" providerId="ADAL" clId="{E157E2B6-883A-4EA0-ACA3-76D7FFA5E68D}" dt="2021-10-01T07:33:14.746" v="2802"/>
        <pc:sldMkLst>
          <pc:docMk/>
          <pc:sldMk cId="3851374430" sldId="11088"/>
        </pc:sldMkLst>
        <pc:spChg chg="mod">
          <ac:chgData name="Aman Gupta" userId="3e7205c7-0841-45cf-9c27-fe0147817f99" providerId="ADAL" clId="{E157E2B6-883A-4EA0-ACA3-76D7FFA5E68D}" dt="2021-10-01T07:05:24.172" v="2659"/>
          <ac:spMkLst>
            <pc:docMk/>
            <pc:sldMk cId="3851374430" sldId="11088"/>
            <ac:spMk id="2" creationId="{248A2E6B-BF00-449E-8050-F7859C89E5B4}"/>
          </ac:spMkLst>
        </pc:spChg>
        <pc:spChg chg="mod">
          <ac:chgData name="Aman Gupta" userId="3e7205c7-0841-45cf-9c27-fe0147817f99" providerId="ADAL" clId="{E157E2B6-883A-4EA0-ACA3-76D7FFA5E68D}" dt="2021-10-01T07:21:04.803" v="2774" actId="20577"/>
          <ac:spMkLst>
            <pc:docMk/>
            <pc:sldMk cId="3851374430" sldId="11088"/>
            <ac:spMk id="3" creationId="{2980CA83-F658-462A-B504-8CCB6280AB55}"/>
          </ac:spMkLst>
        </pc:spChg>
        <pc:picChg chg="add mod">
          <ac:chgData name="Aman Gupta" userId="3e7205c7-0841-45cf-9c27-fe0147817f99" providerId="ADAL" clId="{E157E2B6-883A-4EA0-ACA3-76D7FFA5E68D}" dt="2021-10-01T07:32:14.598" v="2797" actId="1076"/>
          <ac:picMkLst>
            <pc:docMk/>
            <pc:sldMk cId="3851374430" sldId="11088"/>
            <ac:picMk id="5" creationId="{F417C612-98C3-4210-96A2-51BB3BCE8286}"/>
          </ac:picMkLst>
        </pc:picChg>
      </pc:sldChg>
      <pc:sldChg chg="addSp modSp new mod ord modAnim">
        <pc:chgData name="Aman Gupta" userId="3e7205c7-0841-45cf-9c27-fe0147817f99" providerId="ADAL" clId="{E157E2B6-883A-4EA0-ACA3-76D7FFA5E68D}" dt="2021-10-01T07:33:05.830" v="2800"/>
        <pc:sldMkLst>
          <pc:docMk/>
          <pc:sldMk cId="3350763296" sldId="11089"/>
        </pc:sldMkLst>
        <pc:spChg chg="mod">
          <ac:chgData name="Aman Gupta" userId="3e7205c7-0841-45cf-9c27-fe0147817f99" providerId="ADAL" clId="{E157E2B6-883A-4EA0-ACA3-76D7FFA5E68D}" dt="2021-10-01T07:12:59.398" v="2737"/>
          <ac:spMkLst>
            <pc:docMk/>
            <pc:sldMk cId="3350763296" sldId="11089"/>
            <ac:spMk id="2" creationId="{A111F78C-283A-49A5-B228-E1A6CEF064DB}"/>
          </ac:spMkLst>
        </pc:spChg>
        <pc:spChg chg="mod">
          <ac:chgData name="Aman Gupta" userId="3e7205c7-0841-45cf-9c27-fe0147817f99" providerId="ADAL" clId="{E157E2B6-883A-4EA0-ACA3-76D7FFA5E68D}" dt="2021-10-01T07:21:11.646" v="2776" actId="20577"/>
          <ac:spMkLst>
            <pc:docMk/>
            <pc:sldMk cId="3350763296" sldId="11089"/>
            <ac:spMk id="3" creationId="{FF14F85C-288F-4A0C-B96B-15E5049231F3}"/>
          </ac:spMkLst>
        </pc:spChg>
        <pc:picChg chg="add mod">
          <ac:chgData name="Aman Gupta" userId="3e7205c7-0841-45cf-9c27-fe0147817f99" providerId="ADAL" clId="{E157E2B6-883A-4EA0-ACA3-76D7FFA5E68D}" dt="2021-10-01T07:13:57.819" v="2743" actId="1076"/>
          <ac:picMkLst>
            <pc:docMk/>
            <pc:sldMk cId="3350763296" sldId="11089"/>
            <ac:picMk id="5" creationId="{F470BAD2-8403-460F-9BB5-E6604CC30688}"/>
          </ac:picMkLst>
        </pc:picChg>
      </pc:sldChg>
      <pc:sldChg chg="addSp delSp modSp new mod ord modClrScheme chgLayout">
        <pc:chgData name="Aman Gupta" userId="3e7205c7-0841-45cf-9c27-fe0147817f99" providerId="ADAL" clId="{E157E2B6-883A-4EA0-ACA3-76D7FFA5E68D}" dt="2021-10-01T07:35:46.387" v="2832" actId="113"/>
        <pc:sldMkLst>
          <pc:docMk/>
          <pc:sldMk cId="573088174" sldId="11090"/>
        </pc:sldMkLst>
        <pc:spChg chg="del mod ord">
          <ac:chgData name="Aman Gupta" userId="3e7205c7-0841-45cf-9c27-fe0147817f99" providerId="ADAL" clId="{E157E2B6-883A-4EA0-ACA3-76D7FFA5E68D}" dt="2021-10-01T07:35:38.310" v="2810" actId="700"/>
          <ac:spMkLst>
            <pc:docMk/>
            <pc:sldMk cId="573088174" sldId="11090"/>
            <ac:spMk id="2" creationId="{D7443E67-FAE4-406A-990F-FC14C6678706}"/>
          </ac:spMkLst>
        </pc:spChg>
        <pc:spChg chg="del">
          <ac:chgData name="Aman Gupta" userId="3e7205c7-0841-45cf-9c27-fe0147817f99" providerId="ADAL" clId="{E157E2B6-883A-4EA0-ACA3-76D7FFA5E68D}" dt="2021-10-01T07:35:38.310" v="2810" actId="700"/>
          <ac:spMkLst>
            <pc:docMk/>
            <pc:sldMk cId="573088174" sldId="11090"/>
            <ac:spMk id="3" creationId="{70D4B088-1767-4E22-91A7-94969E248D6A}"/>
          </ac:spMkLst>
        </pc:spChg>
        <pc:spChg chg="add mod ord">
          <ac:chgData name="Aman Gupta" userId="3e7205c7-0841-45cf-9c27-fe0147817f99" providerId="ADAL" clId="{E157E2B6-883A-4EA0-ACA3-76D7FFA5E68D}" dt="2021-10-01T07:35:46.387" v="2832" actId="113"/>
          <ac:spMkLst>
            <pc:docMk/>
            <pc:sldMk cId="573088174" sldId="11090"/>
            <ac:spMk id="4" creationId="{20538E72-64CB-420C-AC29-D037093973EF}"/>
          </ac:spMkLst>
        </pc:spChg>
      </pc:sldChg>
    </pc:docChg>
  </pc:docChgLst>
  <pc:docChgLst>
    <pc:chgData name="Chirag Kulshreshtha" userId="d7a727ad-ca61-44ba-ac0f-387f678257d5" providerId="ADAL" clId="{26550DD9-A8EB-4A86-A944-9B580459D0F7}"/>
    <pc:docChg chg="custSel addSld delSld modSld">
      <pc:chgData name="Chirag Kulshreshtha" userId="d7a727ad-ca61-44ba-ac0f-387f678257d5" providerId="ADAL" clId="{26550DD9-A8EB-4A86-A944-9B580459D0F7}" dt="2022-11-04T04:00:30.658" v="135" actId="20577"/>
      <pc:docMkLst>
        <pc:docMk/>
      </pc:docMkLst>
      <pc:sldChg chg="modSp mod">
        <pc:chgData name="Chirag Kulshreshtha" userId="d7a727ad-ca61-44ba-ac0f-387f678257d5" providerId="ADAL" clId="{26550DD9-A8EB-4A86-A944-9B580459D0F7}" dt="2022-11-04T03:58:52.490" v="130" actId="1035"/>
        <pc:sldMkLst>
          <pc:docMk/>
          <pc:sldMk cId="540761844" sldId="309"/>
        </pc:sldMkLst>
        <pc:spChg chg="mod">
          <ac:chgData name="Chirag Kulshreshtha" userId="d7a727ad-ca61-44ba-ac0f-387f678257d5" providerId="ADAL" clId="{26550DD9-A8EB-4A86-A944-9B580459D0F7}" dt="2022-11-04T03:58:47.864" v="117" actId="1035"/>
          <ac:spMkLst>
            <pc:docMk/>
            <pc:sldMk cId="540761844" sldId="309"/>
            <ac:spMk id="6" creationId="{CAC8A6B3-C627-4C10-811F-C4598CF58FD2}"/>
          </ac:spMkLst>
        </pc:spChg>
        <pc:spChg chg="mod">
          <ac:chgData name="Chirag Kulshreshtha" userId="d7a727ad-ca61-44ba-ac0f-387f678257d5" providerId="ADAL" clId="{26550DD9-A8EB-4A86-A944-9B580459D0F7}" dt="2022-11-04T03:58:52.490" v="130" actId="1035"/>
          <ac:spMkLst>
            <pc:docMk/>
            <pc:sldMk cId="540761844" sldId="309"/>
            <ac:spMk id="12" creationId="{0E6846BF-5C31-4E29-A8D4-3365775B7A6B}"/>
          </ac:spMkLst>
        </pc:spChg>
      </pc:sldChg>
      <pc:sldChg chg="modSp mod">
        <pc:chgData name="Chirag Kulshreshtha" userId="d7a727ad-ca61-44ba-ac0f-387f678257d5" providerId="ADAL" clId="{26550DD9-A8EB-4A86-A944-9B580459D0F7}" dt="2022-11-04T04:00:30.658" v="135" actId="20577"/>
        <pc:sldMkLst>
          <pc:docMk/>
          <pc:sldMk cId="201107313" sldId="11094"/>
        </pc:sldMkLst>
        <pc:spChg chg="mod">
          <ac:chgData name="Chirag Kulshreshtha" userId="d7a727ad-ca61-44ba-ac0f-387f678257d5" providerId="ADAL" clId="{26550DD9-A8EB-4A86-A944-9B580459D0F7}" dt="2022-11-04T04:00:30.658" v="135" actId="20577"/>
          <ac:spMkLst>
            <pc:docMk/>
            <pc:sldMk cId="201107313" sldId="11094"/>
            <ac:spMk id="4" creationId="{CFB4F272-7D6F-4580-13A9-5F36B0A72EE3}"/>
          </ac:spMkLst>
        </pc:spChg>
      </pc:sldChg>
      <pc:sldChg chg="addSp delSp modSp add mod modNotesTx">
        <pc:chgData name="Chirag Kulshreshtha" userId="d7a727ad-ca61-44ba-ac0f-387f678257d5" providerId="ADAL" clId="{26550DD9-A8EB-4A86-A944-9B580459D0F7}" dt="2022-11-04T03:57:22.751" v="101" actId="20577"/>
        <pc:sldMkLst>
          <pc:docMk/>
          <pc:sldMk cId="89299891" sldId="11095"/>
        </pc:sldMkLst>
        <pc:spChg chg="mod">
          <ac:chgData name="Chirag Kulshreshtha" userId="d7a727ad-ca61-44ba-ac0f-387f678257d5" providerId="ADAL" clId="{26550DD9-A8EB-4A86-A944-9B580459D0F7}" dt="2022-11-04T03:57:22.751" v="101" actId="20577"/>
          <ac:spMkLst>
            <pc:docMk/>
            <pc:sldMk cId="89299891" sldId="11095"/>
            <ac:spMk id="2" creationId="{02590833-81FD-4547-8DFE-7891404F1758}"/>
          </ac:spMkLst>
        </pc:spChg>
        <pc:spChg chg="add mod">
          <ac:chgData name="Chirag Kulshreshtha" userId="d7a727ad-ca61-44ba-ac0f-387f678257d5" providerId="ADAL" clId="{26550DD9-A8EB-4A86-A944-9B580459D0F7}" dt="2022-11-04T03:56:46.187" v="98" actId="20577"/>
          <ac:spMkLst>
            <pc:docMk/>
            <pc:sldMk cId="89299891" sldId="11095"/>
            <ac:spMk id="4" creationId="{3338FF45-A62B-B238-4772-BADA194EF4B8}"/>
          </ac:spMkLst>
        </pc:spChg>
        <pc:picChg chg="del">
          <ac:chgData name="Chirag Kulshreshtha" userId="d7a727ad-ca61-44ba-ac0f-387f678257d5" providerId="ADAL" clId="{26550DD9-A8EB-4A86-A944-9B580459D0F7}" dt="2022-11-04T03:53:55.058" v="23" actId="478"/>
          <ac:picMkLst>
            <pc:docMk/>
            <pc:sldMk cId="89299891" sldId="11095"/>
            <ac:picMk id="7" creationId="{64E6EA70-8C75-EDFC-93A3-074024F0631A}"/>
          </ac:picMkLst>
        </pc:picChg>
      </pc:sldChg>
      <pc:sldChg chg="add del modNotesTx">
        <pc:chgData name="Chirag Kulshreshtha" userId="d7a727ad-ca61-44ba-ac0f-387f678257d5" providerId="ADAL" clId="{26550DD9-A8EB-4A86-A944-9B580459D0F7}" dt="2022-11-04T03:52:54.078" v="12" actId="47"/>
        <pc:sldMkLst>
          <pc:docMk/>
          <pc:sldMk cId="1231371904" sldId="11095"/>
        </pc:sldMkLst>
      </pc:sldChg>
      <pc:sldChg chg="add del">
        <pc:chgData name="Chirag Kulshreshtha" userId="d7a727ad-ca61-44ba-ac0f-387f678257d5" providerId="ADAL" clId="{26550DD9-A8EB-4A86-A944-9B580459D0F7}" dt="2022-11-04T03:52:55.262" v="13" actId="47"/>
        <pc:sldMkLst>
          <pc:docMk/>
          <pc:sldMk cId="625700244" sldId="11096"/>
        </pc:sldMkLst>
      </pc:sldChg>
      <pc:sldChg chg="modSp add mod">
        <pc:chgData name="Chirag Kulshreshtha" userId="d7a727ad-ca61-44ba-ac0f-387f678257d5" providerId="ADAL" clId="{26550DD9-A8EB-4A86-A944-9B580459D0F7}" dt="2022-11-04T03:57:26.747" v="102" actId="20577"/>
        <pc:sldMkLst>
          <pc:docMk/>
          <pc:sldMk cId="806131084" sldId="11096"/>
        </pc:sldMkLst>
        <pc:spChg chg="mod">
          <ac:chgData name="Chirag Kulshreshtha" userId="d7a727ad-ca61-44ba-ac0f-387f678257d5" providerId="ADAL" clId="{26550DD9-A8EB-4A86-A944-9B580459D0F7}" dt="2022-11-04T03:57:26.747" v="102" actId="20577"/>
          <ac:spMkLst>
            <pc:docMk/>
            <pc:sldMk cId="806131084" sldId="11096"/>
            <ac:spMk id="2" creationId="{02590833-81FD-4547-8DFE-7891404F1758}"/>
          </ac:spMkLst>
        </pc:spChg>
        <pc:spChg chg="mod">
          <ac:chgData name="Chirag Kulshreshtha" userId="d7a727ad-ca61-44ba-ac0f-387f678257d5" providerId="ADAL" clId="{26550DD9-A8EB-4A86-A944-9B580459D0F7}" dt="2022-11-04T03:56:53.517" v="99" actId="6549"/>
          <ac:spMkLst>
            <pc:docMk/>
            <pc:sldMk cId="806131084" sldId="11096"/>
            <ac:spMk id="4" creationId="{3338FF45-A62B-B238-4772-BADA194EF4B8}"/>
          </ac:spMkLst>
        </pc:spChg>
      </pc:sldChg>
    </pc:docChg>
  </pc:docChgLst>
</pc:chgInfo>
</file>

<file path=ppt/diagrams/_rels/data1.xml.rels><?xml version="1.0" encoding="UTF-8" standalone="yes"?>
<Relationships xmlns="http://schemas.openxmlformats.org/package/2006/relationships"><Relationship Id="rId1" Type="http://schemas.openxmlformats.org/officeDocument/2006/relationships/hyperlink" Target="https://adobe-my.sharepoint.com/personal/vivekv_adobe_com/_layouts/15/onedrive.aspx?ga=1&amp;id=%2Fpersonal%2Fvivekv%5Fadobe%5Fcom%2FDocuments%2FALM%20Hackathon%2FHackathon%20PPT%20and%20Docs%2FHackathon%20Material%2FML%20%2D%20Topic%20Prediction"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https://adobe-my.sharepoint.com/personal/vivekv_adobe_com/_layouts/15/onedrive.aspx?ga=1&amp;id=%2Fpersonal%2Fvivekv%5Fadobe%5Fcom%2FDocuments%2FALM%20Hackathon%2FHackathon%20PPT%20and%20Docs%2FHackathon%20Material%2FML%20%2D%20Topic%20Prediction" TargetMode="Externa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3163D8-6FE1-4612-9E74-151F21E51C17}" type="doc">
      <dgm:prSet loTypeId="urn:microsoft.com/office/officeart/2005/8/layout/process4" loCatId="process" qsTypeId="urn:microsoft.com/office/officeart/2005/8/quickstyle/simple1" qsCatId="simple" csTypeId="urn:microsoft.com/office/officeart/2005/8/colors/colorful3" csCatId="colorful" phldr="1"/>
      <dgm:spPr/>
    </dgm:pt>
    <dgm:pt modelId="{DC7D5C99-30AA-42B3-B6CD-9503DB52BC5B}">
      <dgm:prSet phldrT="[Text]" custT="1"/>
      <dgm:spPr/>
      <dgm:t>
        <a:bodyPr/>
        <a:lstStyle/>
        <a:p>
          <a:r>
            <a:rPr lang="en-US" sz="1400" b="1" dirty="0"/>
            <a:t>Initial Analysis &amp; Variable/ Parameter Identification</a:t>
          </a:r>
          <a:endParaRPr lang="en-US" sz="1400" dirty="0"/>
        </a:p>
      </dgm:t>
    </dgm:pt>
    <dgm:pt modelId="{962EA7AF-EE91-4D73-8BA2-98E0B90E0481}" type="parTrans" cxnId="{7C28A473-6887-4057-ACB7-3DA9AC4810B8}">
      <dgm:prSet/>
      <dgm:spPr/>
      <dgm:t>
        <a:bodyPr/>
        <a:lstStyle/>
        <a:p>
          <a:endParaRPr lang="en-US"/>
        </a:p>
      </dgm:t>
    </dgm:pt>
    <dgm:pt modelId="{BCF64A86-3323-447E-88B2-467FF5E1E0B6}" type="sibTrans" cxnId="{7C28A473-6887-4057-ACB7-3DA9AC4810B8}">
      <dgm:prSet/>
      <dgm:spPr/>
      <dgm:t>
        <a:bodyPr/>
        <a:lstStyle/>
        <a:p>
          <a:endParaRPr lang="en-US"/>
        </a:p>
      </dgm:t>
    </dgm:pt>
    <dgm:pt modelId="{C4911280-19C4-415F-A555-C630699F43EE}">
      <dgm:prSet phldrT="[Text]" custT="1"/>
      <dgm:spPr/>
      <dgm:t>
        <a:bodyPr/>
        <a:lstStyle/>
        <a:p>
          <a:r>
            <a:rPr lang="en-US" sz="1400" b="1" dirty="0"/>
            <a:t>Data Collection</a:t>
          </a:r>
          <a:endParaRPr lang="en-US" sz="1400" dirty="0"/>
        </a:p>
        <a:p>
          <a:r>
            <a:rPr lang="en-US" sz="1400" b="1" dirty="0"/>
            <a:t>(Referred course_metadata.csv from </a:t>
          </a:r>
          <a:r>
            <a:rPr lang="en-US" sz="1400" b="1" dirty="0">
              <a:hlinkClick xmlns:r="http://schemas.openxmlformats.org/officeDocument/2006/relationships" r:id="rId1"/>
            </a:rPr>
            <a:t>here</a:t>
          </a:r>
          <a:r>
            <a:rPr lang="en-US" sz="1400" b="1" dirty="0"/>
            <a:t>)</a:t>
          </a:r>
          <a:endParaRPr lang="en-US" sz="1400" dirty="0"/>
        </a:p>
      </dgm:t>
    </dgm:pt>
    <dgm:pt modelId="{B7A75325-67A2-4A11-AEEA-D0B284FD6170}" type="parTrans" cxnId="{D976E724-96BC-4393-AD83-86C7C674B12E}">
      <dgm:prSet/>
      <dgm:spPr/>
      <dgm:t>
        <a:bodyPr/>
        <a:lstStyle/>
        <a:p>
          <a:endParaRPr lang="en-US"/>
        </a:p>
      </dgm:t>
    </dgm:pt>
    <dgm:pt modelId="{6119910D-17E0-49BB-8E29-09D89FA8A51F}" type="sibTrans" cxnId="{D976E724-96BC-4393-AD83-86C7C674B12E}">
      <dgm:prSet/>
      <dgm:spPr/>
      <dgm:t>
        <a:bodyPr/>
        <a:lstStyle/>
        <a:p>
          <a:endParaRPr lang="en-US"/>
        </a:p>
      </dgm:t>
    </dgm:pt>
    <dgm:pt modelId="{0FC548DD-80EC-4128-8670-782AC90EE821}">
      <dgm:prSet phldrT="[Text]" custT="1"/>
      <dgm:spPr/>
      <dgm:t>
        <a:bodyPr/>
        <a:lstStyle/>
        <a:p>
          <a:r>
            <a:rPr lang="en-US" sz="1400" b="1" dirty="0"/>
            <a:t>Sampling</a:t>
          </a:r>
          <a:endParaRPr lang="en-US" sz="1400" dirty="0"/>
        </a:p>
        <a:p>
          <a:r>
            <a:rPr lang="en-US" sz="1400" b="1" dirty="0"/>
            <a:t>(Our Sample should contain good mix of titles and descriptions</a:t>
          </a:r>
          <a:endParaRPr lang="en-US" sz="1400" dirty="0"/>
        </a:p>
      </dgm:t>
    </dgm:pt>
    <dgm:pt modelId="{5E0F2007-3B82-45C3-A9AE-0E7F0B02F8D6}" type="parTrans" cxnId="{96A8F9D7-AD25-42A0-8D1E-713B05FDF9A6}">
      <dgm:prSet/>
      <dgm:spPr/>
      <dgm:t>
        <a:bodyPr/>
        <a:lstStyle/>
        <a:p>
          <a:endParaRPr lang="en-US"/>
        </a:p>
      </dgm:t>
    </dgm:pt>
    <dgm:pt modelId="{9A4421D9-CB97-45E8-B6A4-E186555E7172}" type="sibTrans" cxnId="{96A8F9D7-AD25-42A0-8D1E-713B05FDF9A6}">
      <dgm:prSet/>
      <dgm:spPr/>
      <dgm:t>
        <a:bodyPr/>
        <a:lstStyle/>
        <a:p>
          <a:endParaRPr lang="en-US"/>
        </a:p>
      </dgm:t>
    </dgm:pt>
    <dgm:pt modelId="{00D73D0E-04E6-4CF0-AA43-C1A24FA6B79B}">
      <dgm:prSet custT="1"/>
      <dgm:spPr/>
      <dgm:t>
        <a:bodyPr/>
        <a:lstStyle/>
        <a:p>
          <a:r>
            <a:rPr lang="en-US" sz="1400" b="1" dirty="0"/>
            <a:t>Data Preprocessing(Tokenization, Removing Stop Words, Lemmatization, n-grams formation)</a:t>
          </a:r>
          <a:endParaRPr lang="en-US" sz="1400" dirty="0"/>
        </a:p>
      </dgm:t>
    </dgm:pt>
    <dgm:pt modelId="{3C6E2319-4D36-4C8C-BC5A-83A9C9171CE5}" type="parTrans" cxnId="{8E0C9643-ECE4-4974-94BC-03ABDC147258}">
      <dgm:prSet/>
      <dgm:spPr/>
      <dgm:t>
        <a:bodyPr/>
        <a:lstStyle/>
        <a:p>
          <a:endParaRPr lang="en-US"/>
        </a:p>
      </dgm:t>
    </dgm:pt>
    <dgm:pt modelId="{C1936F51-66A0-471C-9179-8D2027E7718E}" type="sibTrans" cxnId="{8E0C9643-ECE4-4974-94BC-03ABDC147258}">
      <dgm:prSet/>
      <dgm:spPr/>
      <dgm:t>
        <a:bodyPr/>
        <a:lstStyle/>
        <a:p>
          <a:endParaRPr lang="en-US"/>
        </a:p>
      </dgm:t>
    </dgm:pt>
    <dgm:pt modelId="{BE5B2A3B-772A-48DB-9D3E-1DF8C6629F8F}">
      <dgm:prSet custT="1"/>
      <dgm:spPr/>
      <dgm:t>
        <a:bodyPr/>
        <a:lstStyle/>
        <a:p>
          <a:r>
            <a:rPr lang="en-US" sz="1400" b="1" dirty="0"/>
            <a:t>Model Building (Model Selection &amp; training)</a:t>
          </a:r>
          <a:endParaRPr lang="en-US" sz="1400" dirty="0"/>
        </a:p>
      </dgm:t>
    </dgm:pt>
    <dgm:pt modelId="{EF4F0A46-8DEF-46C5-A79B-23A3D07EB74C}" type="parTrans" cxnId="{B29DE426-1587-45E7-AFDB-06DED5D8DAE7}">
      <dgm:prSet/>
      <dgm:spPr/>
      <dgm:t>
        <a:bodyPr/>
        <a:lstStyle/>
        <a:p>
          <a:endParaRPr lang="en-US"/>
        </a:p>
      </dgm:t>
    </dgm:pt>
    <dgm:pt modelId="{669A14E9-BB5C-488A-A8A2-C204167A1E0A}" type="sibTrans" cxnId="{B29DE426-1587-45E7-AFDB-06DED5D8DAE7}">
      <dgm:prSet/>
      <dgm:spPr/>
      <dgm:t>
        <a:bodyPr/>
        <a:lstStyle/>
        <a:p>
          <a:endParaRPr lang="en-US"/>
        </a:p>
      </dgm:t>
    </dgm:pt>
    <dgm:pt modelId="{362FBD16-C070-4515-B468-C466505DD714}">
      <dgm:prSet custT="1"/>
      <dgm:spPr/>
      <dgm:t>
        <a:bodyPr/>
        <a:lstStyle/>
        <a:p>
          <a:r>
            <a:rPr lang="en-US" sz="1400" b="1" dirty="0"/>
            <a:t>Model Accuracy &amp; Optimization (Fetch metrics like Avg. Topic Coherence for trained model.)</a:t>
          </a:r>
          <a:endParaRPr lang="en-US" sz="1400" dirty="0"/>
        </a:p>
      </dgm:t>
    </dgm:pt>
    <dgm:pt modelId="{2635FB77-08BB-4EF9-846A-D34DF6FFAE01}" type="parTrans" cxnId="{DE5D59F8-A62A-480D-A37E-E3F1285AC85E}">
      <dgm:prSet/>
      <dgm:spPr/>
      <dgm:t>
        <a:bodyPr/>
        <a:lstStyle/>
        <a:p>
          <a:endParaRPr lang="en-US"/>
        </a:p>
      </dgm:t>
    </dgm:pt>
    <dgm:pt modelId="{04C192C2-3D76-4D56-B044-E3E538D3BB59}" type="sibTrans" cxnId="{DE5D59F8-A62A-480D-A37E-E3F1285AC85E}">
      <dgm:prSet/>
      <dgm:spPr/>
      <dgm:t>
        <a:bodyPr/>
        <a:lstStyle/>
        <a:p>
          <a:endParaRPr lang="en-US"/>
        </a:p>
      </dgm:t>
    </dgm:pt>
    <dgm:pt modelId="{2A50A3F0-C060-499F-9BF4-6AAEE6CE4F99}">
      <dgm:prSet custT="1"/>
      <dgm:spPr/>
      <dgm:t>
        <a:bodyPr/>
        <a:lstStyle/>
        <a:p>
          <a:r>
            <a:rPr lang="en-US" sz="1400" b="1" dirty="0"/>
            <a:t>Model Deployment(Saved the model to a folder  in D drive )</a:t>
          </a:r>
          <a:endParaRPr lang="en-US" sz="1400" dirty="0"/>
        </a:p>
      </dgm:t>
    </dgm:pt>
    <dgm:pt modelId="{A237A7D2-B15E-402F-8C37-83ADDF948DCB}" type="parTrans" cxnId="{8594C7A8-AB9B-468E-A9D0-29AE1E93D6EB}">
      <dgm:prSet/>
      <dgm:spPr/>
      <dgm:t>
        <a:bodyPr/>
        <a:lstStyle/>
        <a:p>
          <a:endParaRPr lang="en-US"/>
        </a:p>
      </dgm:t>
    </dgm:pt>
    <dgm:pt modelId="{FF480EF9-1B6C-474F-A353-D513D19AB9FE}" type="sibTrans" cxnId="{8594C7A8-AB9B-468E-A9D0-29AE1E93D6EB}">
      <dgm:prSet/>
      <dgm:spPr/>
      <dgm:t>
        <a:bodyPr/>
        <a:lstStyle/>
        <a:p>
          <a:endParaRPr lang="en-US"/>
        </a:p>
      </dgm:t>
    </dgm:pt>
    <dgm:pt modelId="{9790A6E5-6237-4585-BA09-AA8733A64B0E}" type="pres">
      <dgm:prSet presAssocID="{B63163D8-6FE1-4612-9E74-151F21E51C17}" presName="Name0" presStyleCnt="0">
        <dgm:presLayoutVars>
          <dgm:dir/>
          <dgm:animLvl val="lvl"/>
          <dgm:resizeHandles val="exact"/>
        </dgm:presLayoutVars>
      </dgm:prSet>
      <dgm:spPr/>
    </dgm:pt>
    <dgm:pt modelId="{2F1533FE-DF0E-4590-BC28-A382C703E4D3}" type="pres">
      <dgm:prSet presAssocID="{2A50A3F0-C060-499F-9BF4-6AAEE6CE4F99}" presName="boxAndChildren" presStyleCnt="0"/>
      <dgm:spPr/>
    </dgm:pt>
    <dgm:pt modelId="{E6DD36F2-2F9A-4412-AED0-AF89B16DD0A9}" type="pres">
      <dgm:prSet presAssocID="{2A50A3F0-C060-499F-9BF4-6AAEE6CE4F99}" presName="parentTextBox" presStyleLbl="node1" presStyleIdx="0" presStyleCnt="7"/>
      <dgm:spPr/>
    </dgm:pt>
    <dgm:pt modelId="{504ECFA1-F150-4815-8751-3BB89688E910}" type="pres">
      <dgm:prSet presAssocID="{04C192C2-3D76-4D56-B044-E3E538D3BB59}" presName="sp" presStyleCnt="0"/>
      <dgm:spPr/>
    </dgm:pt>
    <dgm:pt modelId="{9ABE0E8A-12E5-4235-B90D-DA56C9C7823C}" type="pres">
      <dgm:prSet presAssocID="{362FBD16-C070-4515-B468-C466505DD714}" presName="arrowAndChildren" presStyleCnt="0"/>
      <dgm:spPr/>
    </dgm:pt>
    <dgm:pt modelId="{9DC6FDE3-BC34-4A9B-9C74-288692BA3EF7}" type="pres">
      <dgm:prSet presAssocID="{362FBD16-C070-4515-B468-C466505DD714}" presName="parentTextArrow" presStyleLbl="node1" presStyleIdx="1" presStyleCnt="7"/>
      <dgm:spPr/>
    </dgm:pt>
    <dgm:pt modelId="{3C8DDFC6-C495-46BD-9F94-21EBAD8D1AE9}" type="pres">
      <dgm:prSet presAssocID="{669A14E9-BB5C-488A-A8A2-C204167A1E0A}" presName="sp" presStyleCnt="0"/>
      <dgm:spPr/>
    </dgm:pt>
    <dgm:pt modelId="{F4C0DDE0-7825-48F0-8B38-64F4797FACB8}" type="pres">
      <dgm:prSet presAssocID="{BE5B2A3B-772A-48DB-9D3E-1DF8C6629F8F}" presName="arrowAndChildren" presStyleCnt="0"/>
      <dgm:spPr/>
    </dgm:pt>
    <dgm:pt modelId="{901B0806-77E2-4C4A-AE1D-AE4CB9AFE122}" type="pres">
      <dgm:prSet presAssocID="{BE5B2A3B-772A-48DB-9D3E-1DF8C6629F8F}" presName="parentTextArrow" presStyleLbl="node1" presStyleIdx="2" presStyleCnt="7"/>
      <dgm:spPr/>
    </dgm:pt>
    <dgm:pt modelId="{7052520C-26C1-4800-8860-77B51FCDCEFE}" type="pres">
      <dgm:prSet presAssocID="{C1936F51-66A0-471C-9179-8D2027E7718E}" presName="sp" presStyleCnt="0"/>
      <dgm:spPr/>
    </dgm:pt>
    <dgm:pt modelId="{59F6BC41-918C-4620-88D7-28EE0E711B7A}" type="pres">
      <dgm:prSet presAssocID="{00D73D0E-04E6-4CF0-AA43-C1A24FA6B79B}" presName="arrowAndChildren" presStyleCnt="0"/>
      <dgm:spPr/>
    </dgm:pt>
    <dgm:pt modelId="{C596056F-50EC-4DFA-9279-E7FCB83B681B}" type="pres">
      <dgm:prSet presAssocID="{00D73D0E-04E6-4CF0-AA43-C1A24FA6B79B}" presName="parentTextArrow" presStyleLbl="node1" presStyleIdx="3" presStyleCnt="7"/>
      <dgm:spPr/>
    </dgm:pt>
    <dgm:pt modelId="{43A6C90E-F782-4DEE-86A4-F93F35A95DF6}" type="pres">
      <dgm:prSet presAssocID="{9A4421D9-CB97-45E8-B6A4-E186555E7172}" presName="sp" presStyleCnt="0"/>
      <dgm:spPr/>
    </dgm:pt>
    <dgm:pt modelId="{C83E64C6-FFEE-4341-A37E-2DF851FB42F2}" type="pres">
      <dgm:prSet presAssocID="{0FC548DD-80EC-4128-8670-782AC90EE821}" presName="arrowAndChildren" presStyleCnt="0"/>
      <dgm:spPr/>
    </dgm:pt>
    <dgm:pt modelId="{ADD26F35-3053-4FB9-B0A4-8F4680D906E4}" type="pres">
      <dgm:prSet presAssocID="{0FC548DD-80EC-4128-8670-782AC90EE821}" presName="parentTextArrow" presStyleLbl="node1" presStyleIdx="4" presStyleCnt="7"/>
      <dgm:spPr/>
    </dgm:pt>
    <dgm:pt modelId="{A8BB378B-AB83-44BC-B68F-419BCF15B382}" type="pres">
      <dgm:prSet presAssocID="{6119910D-17E0-49BB-8E29-09D89FA8A51F}" presName="sp" presStyleCnt="0"/>
      <dgm:spPr/>
    </dgm:pt>
    <dgm:pt modelId="{5CB30740-989D-4726-9F71-48BA27A46F01}" type="pres">
      <dgm:prSet presAssocID="{C4911280-19C4-415F-A555-C630699F43EE}" presName="arrowAndChildren" presStyleCnt="0"/>
      <dgm:spPr/>
    </dgm:pt>
    <dgm:pt modelId="{5884B8F6-E456-447E-BB38-094E2BDC1D61}" type="pres">
      <dgm:prSet presAssocID="{C4911280-19C4-415F-A555-C630699F43EE}" presName="parentTextArrow" presStyleLbl="node1" presStyleIdx="5" presStyleCnt="7"/>
      <dgm:spPr/>
    </dgm:pt>
    <dgm:pt modelId="{6E525CE9-9AFE-48AC-AFB2-AF0C60DAF893}" type="pres">
      <dgm:prSet presAssocID="{BCF64A86-3323-447E-88B2-467FF5E1E0B6}" presName="sp" presStyleCnt="0"/>
      <dgm:spPr/>
    </dgm:pt>
    <dgm:pt modelId="{C11C3944-44ED-49CD-9738-9D0E7FF2ECC7}" type="pres">
      <dgm:prSet presAssocID="{DC7D5C99-30AA-42B3-B6CD-9503DB52BC5B}" presName="arrowAndChildren" presStyleCnt="0"/>
      <dgm:spPr/>
    </dgm:pt>
    <dgm:pt modelId="{FEE70F42-FEC1-497D-B51B-6A5A4D8BDFFD}" type="pres">
      <dgm:prSet presAssocID="{DC7D5C99-30AA-42B3-B6CD-9503DB52BC5B}" presName="parentTextArrow" presStyleLbl="node1" presStyleIdx="6" presStyleCnt="7"/>
      <dgm:spPr/>
    </dgm:pt>
  </dgm:ptLst>
  <dgm:cxnLst>
    <dgm:cxn modelId="{4C705415-FC3B-4FF9-9A99-24157DB138EE}" type="presOf" srcId="{BE5B2A3B-772A-48DB-9D3E-1DF8C6629F8F}" destId="{901B0806-77E2-4C4A-AE1D-AE4CB9AFE122}" srcOrd="0" destOrd="0" presId="urn:microsoft.com/office/officeart/2005/8/layout/process4"/>
    <dgm:cxn modelId="{D976E724-96BC-4393-AD83-86C7C674B12E}" srcId="{B63163D8-6FE1-4612-9E74-151F21E51C17}" destId="{C4911280-19C4-415F-A555-C630699F43EE}" srcOrd="1" destOrd="0" parTransId="{B7A75325-67A2-4A11-AEEA-D0B284FD6170}" sibTransId="{6119910D-17E0-49BB-8E29-09D89FA8A51F}"/>
    <dgm:cxn modelId="{DC2C9A26-6252-4681-918C-4DBF27D16FB0}" type="presOf" srcId="{362FBD16-C070-4515-B468-C466505DD714}" destId="{9DC6FDE3-BC34-4A9B-9C74-288692BA3EF7}" srcOrd="0" destOrd="0" presId="urn:microsoft.com/office/officeart/2005/8/layout/process4"/>
    <dgm:cxn modelId="{B29DE426-1587-45E7-AFDB-06DED5D8DAE7}" srcId="{B63163D8-6FE1-4612-9E74-151F21E51C17}" destId="{BE5B2A3B-772A-48DB-9D3E-1DF8C6629F8F}" srcOrd="4" destOrd="0" parTransId="{EF4F0A46-8DEF-46C5-A79B-23A3D07EB74C}" sibTransId="{669A14E9-BB5C-488A-A8A2-C204167A1E0A}"/>
    <dgm:cxn modelId="{0043AF3C-9D31-4465-AFF4-EC58A28EA642}" type="presOf" srcId="{2A50A3F0-C060-499F-9BF4-6AAEE6CE4F99}" destId="{E6DD36F2-2F9A-4412-AED0-AF89B16DD0A9}" srcOrd="0" destOrd="0" presId="urn:microsoft.com/office/officeart/2005/8/layout/process4"/>
    <dgm:cxn modelId="{B7F43B40-4B8C-4248-ADAC-D6E732D8D570}" type="presOf" srcId="{C4911280-19C4-415F-A555-C630699F43EE}" destId="{5884B8F6-E456-447E-BB38-094E2BDC1D61}" srcOrd="0" destOrd="0" presId="urn:microsoft.com/office/officeart/2005/8/layout/process4"/>
    <dgm:cxn modelId="{8E0C9643-ECE4-4974-94BC-03ABDC147258}" srcId="{B63163D8-6FE1-4612-9E74-151F21E51C17}" destId="{00D73D0E-04E6-4CF0-AA43-C1A24FA6B79B}" srcOrd="3" destOrd="0" parTransId="{3C6E2319-4D36-4C8C-BC5A-83A9C9171CE5}" sibTransId="{C1936F51-66A0-471C-9179-8D2027E7718E}"/>
    <dgm:cxn modelId="{F58EFF68-8BCA-459C-8B72-942363662D93}" type="presOf" srcId="{DC7D5C99-30AA-42B3-B6CD-9503DB52BC5B}" destId="{FEE70F42-FEC1-497D-B51B-6A5A4D8BDFFD}" srcOrd="0" destOrd="0" presId="urn:microsoft.com/office/officeart/2005/8/layout/process4"/>
    <dgm:cxn modelId="{7C28A473-6887-4057-ACB7-3DA9AC4810B8}" srcId="{B63163D8-6FE1-4612-9E74-151F21E51C17}" destId="{DC7D5C99-30AA-42B3-B6CD-9503DB52BC5B}" srcOrd="0" destOrd="0" parTransId="{962EA7AF-EE91-4D73-8BA2-98E0B90E0481}" sibTransId="{BCF64A86-3323-447E-88B2-467FF5E1E0B6}"/>
    <dgm:cxn modelId="{29A40755-0B8B-490D-AC2D-B420D2187C24}" type="presOf" srcId="{B63163D8-6FE1-4612-9E74-151F21E51C17}" destId="{9790A6E5-6237-4585-BA09-AA8733A64B0E}" srcOrd="0" destOrd="0" presId="urn:microsoft.com/office/officeart/2005/8/layout/process4"/>
    <dgm:cxn modelId="{8594C7A8-AB9B-468E-A9D0-29AE1E93D6EB}" srcId="{B63163D8-6FE1-4612-9E74-151F21E51C17}" destId="{2A50A3F0-C060-499F-9BF4-6AAEE6CE4F99}" srcOrd="6" destOrd="0" parTransId="{A237A7D2-B15E-402F-8C37-83ADDF948DCB}" sibTransId="{FF480EF9-1B6C-474F-A353-D513D19AB9FE}"/>
    <dgm:cxn modelId="{96A8F9D7-AD25-42A0-8D1E-713B05FDF9A6}" srcId="{B63163D8-6FE1-4612-9E74-151F21E51C17}" destId="{0FC548DD-80EC-4128-8670-782AC90EE821}" srcOrd="2" destOrd="0" parTransId="{5E0F2007-3B82-45C3-A9AE-0E7F0B02F8D6}" sibTransId="{9A4421D9-CB97-45E8-B6A4-E186555E7172}"/>
    <dgm:cxn modelId="{475235EA-0B5C-42C9-9B6E-CB22F028CD25}" type="presOf" srcId="{00D73D0E-04E6-4CF0-AA43-C1A24FA6B79B}" destId="{C596056F-50EC-4DFA-9279-E7FCB83B681B}" srcOrd="0" destOrd="0" presId="urn:microsoft.com/office/officeart/2005/8/layout/process4"/>
    <dgm:cxn modelId="{DE5D59F8-A62A-480D-A37E-E3F1285AC85E}" srcId="{B63163D8-6FE1-4612-9E74-151F21E51C17}" destId="{362FBD16-C070-4515-B468-C466505DD714}" srcOrd="5" destOrd="0" parTransId="{2635FB77-08BB-4EF9-846A-D34DF6FFAE01}" sibTransId="{04C192C2-3D76-4D56-B044-E3E538D3BB59}"/>
    <dgm:cxn modelId="{FCE28EF8-BDB1-453F-8A9A-DDED495E8FF6}" type="presOf" srcId="{0FC548DD-80EC-4128-8670-782AC90EE821}" destId="{ADD26F35-3053-4FB9-B0A4-8F4680D906E4}" srcOrd="0" destOrd="0" presId="urn:microsoft.com/office/officeart/2005/8/layout/process4"/>
    <dgm:cxn modelId="{33AB9F5A-968D-4626-AD5C-D03040A04CC5}" type="presParOf" srcId="{9790A6E5-6237-4585-BA09-AA8733A64B0E}" destId="{2F1533FE-DF0E-4590-BC28-A382C703E4D3}" srcOrd="0" destOrd="0" presId="urn:microsoft.com/office/officeart/2005/8/layout/process4"/>
    <dgm:cxn modelId="{0C9D0ABE-5372-40BB-968B-D6F36A069C5B}" type="presParOf" srcId="{2F1533FE-DF0E-4590-BC28-A382C703E4D3}" destId="{E6DD36F2-2F9A-4412-AED0-AF89B16DD0A9}" srcOrd="0" destOrd="0" presId="urn:microsoft.com/office/officeart/2005/8/layout/process4"/>
    <dgm:cxn modelId="{45F256F2-F2C5-4BF1-859E-5410A71C7E9A}" type="presParOf" srcId="{9790A6E5-6237-4585-BA09-AA8733A64B0E}" destId="{504ECFA1-F150-4815-8751-3BB89688E910}" srcOrd="1" destOrd="0" presId="urn:microsoft.com/office/officeart/2005/8/layout/process4"/>
    <dgm:cxn modelId="{9AB28137-D6D0-4B88-931D-707BA3086069}" type="presParOf" srcId="{9790A6E5-6237-4585-BA09-AA8733A64B0E}" destId="{9ABE0E8A-12E5-4235-B90D-DA56C9C7823C}" srcOrd="2" destOrd="0" presId="urn:microsoft.com/office/officeart/2005/8/layout/process4"/>
    <dgm:cxn modelId="{C82E03A8-AD6D-4133-A07F-8C137B804ED5}" type="presParOf" srcId="{9ABE0E8A-12E5-4235-B90D-DA56C9C7823C}" destId="{9DC6FDE3-BC34-4A9B-9C74-288692BA3EF7}" srcOrd="0" destOrd="0" presId="urn:microsoft.com/office/officeart/2005/8/layout/process4"/>
    <dgm:cxn modelId="{55C4D4C4-5163-4443-87C5-6434D885780C}" type="presParOf" srcId="{9790A6E5-6237-4585-BA09-AA8733A64B0E}" destId="{3C8DDFC6-C495-46BD-9F94-21EBAD8D1AE9}" srcOrd="3" destOrd="0" presId="urn:microsoft.com/office/officeart/2005/8/layout/process4"/>
    <dgm:cxn modelId="{E945B049-A9B0-4222-9B31-748145EB3CBF}" type="presParOf" srcId="{9790A6E5-6237-4585-BA09-AA8733A64B0E}" destId="{F4C0DDE0-7825-48F0-8B38-64F4797FACB8}" srcOrd="4" destOrd="0" presId="urn:microsoft.com/office/officeart/2005/8/layout/process4"/>
    <dgm:cxn modelId="{CA999695-9207-4C4D-B50A-3AB31AB45E85}" type="presParOf" srcId="{F4C0DDE0-7825-48F0-8B38-64F4797FACB8}" destId="{901B0806-77E2-4C4A-AE1D-AE4CB9AFE122}" srcOrd="0" destOrd="0" presId="urn:microsoft.com/office/officeart/2005/8/layout/process4"/>
    <dgm:cxn modelId="{91EF522F-C24D-4F0E-BE13-2E1BD1DB7087}" type="presParOf" srcId="{9790A6E5-6237-4585-BA09-AA8733A64B0E}" destId="{7052520C-26C1-4800-8860-77B51FCDCEFE}" srcOrd="5" destOrd="0" presId="urn:microsoft.com/office/officeart/2005/8/layout/process4"/>
    <dgm:cxn modelId="{095951DE-D8C2-441F-9007-A945D6866D4C}" type="presParOf" srcId="{9790A6E5-6237-4585-BA09-AA8733A64B0E}" destId="{59F6BC41-918C-4620-88D7-28EE0E711B7A}" srcOrd="6" destOrd="0" presId="urn:microsoft.com/office/officeart/2005/8/layout/process4"/>
    <dgm:cxn modelId="{127E7174-C067-447B-AFF3-FB13877459A4}" type="presParOf" srcId="{59F6BC41-918C-4620-88D7-28EE0E711B7A}" destId="{C596056F-50EC-4DFA-9279-E7FCB83B681B}" srcOrd="0" destOrd="0" presId="urn:microsoft.com/office/officeart/2005/8/layout/process4"/>
    <dgm:cxn modelId="{BCADA7E0-3946-4E7B-9277-1EA4F933FC09}" type="presParOf" srcId="{9790A6E5-6237-4585-BA09-AA8733A64B0E}" destId="{43A6C90E-F782-4DEE-86A4-F93F35A95DF6}" srcOrd="7" destOrd="0" presId="urn:microsoft.com/office/officeart/2005/8/layout/process4"/>
    <dgm:cxn modelId="{54C2DD19-20F1-4751-8DC6-875C9BD9C3FA}" type="presParOf" srcId="{9790A6E5-6237-4585-BA09-AA8733A64B0E}" destId="{C83E64C6-FFEE-4341-A37E-2DF851FB42F2}" srcOrd="8" destOrd="0" presId="urn:microsoft.com/office/officeart/2005/8/layout/process4"/>
    <dgm:cxn modelId="{74886C8A-0B58-43DD-B9E0-3FBED381B22F}" type="presParOf" srcId="{C83E64C6-FFEE-4341-A37E-2DF851FB42F2}" destId="{ADD26F35-3053-4FB9-B0A4-8F4680D906E4}" srcOrd="0" destOrd="0" presId="urn:microsoft.com/office/officeart/2005/8/layout/process4"/>
    <dgm:cxn modelId="{A9B64236-4130-496B-80F4-C072DE8520C2}" type="presParOf" srcId="{9790A6E5-6237-4585-BA09-AA8733A64B0E}" destId="{A8BB378B-AB83-44BC-B68F-419BCF15B382}" srcOrd="9" destOrd="0" presId="urn:microsoft.com/office/officeart/2005/8/layout/process4"/>
    <dgm:cxn modelId="{DA04A223-FAB8-4DC8-BD74-B53C3A21B344}" type="presParOf" srcId="{9790A6E5-6237-4585-BA09-AA8733A64B0E}" destId="{5CB30740-989D-4726-9F71-48BA27A46F01}" srcOrd="10" destOrd="0" presId="urn:microsoft.com/office/officeart/2005/8/layout/process4"/>
    <dgm:cxn modelId="{D25829D8-8D9F-4D51-A450-897FB0247E41}" type="presParOf" srcId="{5CB30740-989D-4726-9F71-48BA27A46F01}" destId="{5884B8F6-E456-447E-BB38-094E2BDC1D61}" srcOrd="0" destOrd="0" presId="urn:microsoft.com/office/officeart/2005/8/layout/process4"/>
    <dgm:cxn modelId="{4E4DFA20-0623-4B8B-90ED-FE10312169D3}" type="presParOf" srcId="{9790A6E5-6237-4585-BA09-AA8733A64B0E}" destId="{6E525CE9-9AFE-48AC-AFB2-AF0C60DAF893}" srcOrd="11" destOrd="0" presId="urn:microsoft.com/office/officeart/2005/8/layout/process4"/>
    <dgm:cxn modelId="{AC62D3B1-436B-414C-BC80-64BE8F4EB9A0}" type="presParOf" srcId="{9790A6E5-6237-4585-BA09-AA8733A64B0E}" destId="{C11C3944-44ED-49CD-9738-9D0E7FF2ECC7}" srcOrd="12" destOrd="0" presId="urn:microsoft.com/office/officeart/2005/8/layout/process4"/>
    <dgm:cxn modelId="{5D4ED3D0-9826-443B-B2B0-BD2E72C4E774}" type="presParOf" srcId="{C11C3944-44ED-49CD-9738-9D0E7FF2ECC7}" destId="{FEE70F42-FEC1-497D-B51B-6A5A4D8BDFFD}"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9AF93B0-F38A-4B43-968A-D35070C7C67B}"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D8B36181-DBC5-49B3-87E9-FF7E00BD42D4}">
      <dgm:prSet phldrT="[Text]"/>
      <dgm:spPr/>
      <dgm:t>
        <a:bodyPr/>
        <a:lstStyle/>
        <a:p>
          <a:r>
            <a:rPr lang="en-US" dirty="0"/>
            <a:t>Execute “data_cleaning.py”</a:t>
          </a:r>
        </a:p>
      </dgm:t>
    </dgm:pt>
    <dgm:pt modelId="{8CCDB606-0024-4278-A12B-8D9C3CAF3688}" type="parTrans" cxnId="{253FBFDD-689D-4A5B-B15A-F865C0F5D7DE}">
      <dgm:prSet/>
      <dgm:spPr/>
      <dgm:t>
        <a:bodyPr/>
        <a:lstStyle/>
        <a:p>
          <a:endParaRPr lang="en-US"/>
        </a:p>
      </dgm:t>
    </dgm:pt>
    <dgm:pt modelId="{6ED16F9E-F7D9-4F95-9061-BC1F5FF79B67}" type="sibTrans" cxnId="{253FBFDD-689D-4A5B-B15A-F865C0F5D7DE}">
      <dgm:prSet/>
      <dgm:spPr/>
      <dgm:t>
        <a:bodyPr/>
        <a:lstStyle/>
        <a:p>
          <a:endParaRPr lang="en-US"/>
        </a:p>
      </dgm:t>
    </dgm:pt>
    <dgm:pt modelId="{57E382B1-35D3-4711-805B-27D96CAC6EB9}">
      <dgm:prSet phldrT="[Text]"/>
      <dgm:spPr/>
      <dgm:t>
        <a:bodyPr/>
        <a:lstStyle/>
        <a:p>
          <a:r>
            <a:rPr lang="en-US" dirty="0"/>
            <a:t>Remove duplicates</a:t>
          </a:r>
        </a:p>
      </dgm:t>
    </dgm:pt>
    <dgm:pt modelId="{6AA7880F-BCF9-405E-92B8-0661FC252F19}" type="parTrans" cxnId="{F1007B33-7FE1-412F-BD81-6B7F75315BFE}">
      <dgm:prSet/>
      <dgm:spPr/>
      <dgm:t>
        <a:bodyPr/>
        <a:lstStyle/>
        <a:p>
          <a:endParaRPr lang="en-US"/>
        </a:p>
      </dgm:t>
    </dgm:pt>
    <dgm:pt modelId="{2EF9EEF3-119F-4C18-906F-B727D845DBD3}" type="sibTrans" cxnId="{F1007B33-7FE1-412F-BD81-6B7F75315BFE}">
      <dgm:prSet/>
      <dgm:spPr/>
      <dgm:t>
        <a:bodyPr/>
        <a:lstStyle/>
        <a:p>
          <a:endParaRPr lang="en-US"/>
        </a:p>
      </dgm:t>
    </dgm:pt>
    <dgm:pt modelId="{B50F3CB1-2990-44A3-809F-573EA6809D32}">
      <dgm:prSet phldrT="[Text]"/>
      <dgm:spPr/>
      <dgm:t>
        <a:bodyPr/>
        <a:lstStyle/>
        <a:p>
          <a:r>
            <a:rPr lang="en-US" dirty="0"/>
            <a:t>Translate all records to English in batches</a:t>
          </a:r>
        </a:p>
      </dgm:t>
    </dgm:pt>
    <dgm:pt modelId="{BB01F559-A33C-4375-BF64-D1E2B0FA76A6}" type="parTrans" cxnId="{8EBA24F9-0D78-45A0-9E8A-410893BFBB81}">
      <dgm:prSet/>
      <dgm:spPr/>
      <dgm:t>
        <a:bodyPr/>
        <a:lstStyle/>
        <a:p>
          <a:endParaRPr lang="en-US"/>
        </a:p>
      </dgm:t>
    </dgm:pt>
    <dgm:pt modelId="{0EFADAB4-DC91-46A9-A7F5-B16E030B0463}" type="sibTrans" cxnId="{8EBA24F9-0D78-45A0-9E8A-410893BFBB81}">
      <dgm:prSet/>
      <dgm:spPr/>
      <dgm:t>
        <a:bodyPr/>
        <a:lstStyle/>
        <a:p>
          <a:endParaRPr lang="en-US"/>
        </a:p>
      </dgm:t>
    </dgm:pt>
    <dgm:pt modelId="{ECF58E13-4E6C-450D-8EA3-E572659D6826}">
      <dgm:prSet phldrT="[Text]"/>
      <dgm:spPr/>
      <dgm:t>
        <a:bodyPr/>
        <a:lstStyle/>
        <a:p>
          <a:r>
            <a:rPr lang="en-US" dirty="0"/>
            <a:t>Execute “Merge intermediate translated file.py”</a:t>
          </a:r>
        </a:p>
      </dgm:t>
    </dgm:pt>
    <dgm:pt modelId="{8AA23BC3-6FAB-47C8-96A7-DD17EDF7FCA2}" type="parTrans" cxnId="{FD125F41-34CB-438B-B709-D14AAA7BB82F}">
      <dgm:prSet/>
      <dgm:spPr/>
      <dgm:t>
        <a:bodyPr/>
        <a:lstStyle/>
        <a:p>
          <a:endParaRPr lang="en-US"/>
        </a:p>
      </dgm:t>
    </dgm:pt>
    <dgm:pt modelId="{66C2544E-9FF7-41AC-B5EA-6C3298EAF62F}" type="sibTrans" cxnId="{FD125F41-34CB-438B-B709-D14AAA7BB82F}">
      <dgm:prSet/>
      <dgm:spPr/>
      <dgm:t>
        <a:bodyPr/>
        <a:lstStyle/>
        <a:p>
          <a:endParaRPr lang="en-US"/>
        </a:p>
      </dgm:t>
    </dgm:pt>
    <dgm:pt modelId="{D75A41DF-2E2D-4DD0-A255-7784689C25F4}">
      <dgm:prSet phldrT="[Text]"/>
      <dgm:spPr/>
      <dgm:t>
        <a:bodyPr/>
        <a:lstStyle/>
        <a:p>
          <a:r>
            <a:rPr lang="en-US" dirty="0"/>
            <a:t>Read all files from ‘intermediate’ folder</a:t>
          </a:r>
        </a:p>
      </dgm:t>
    </dgm:pt>
    <dgm:pt modelId="{828EE94C-B30A-4515-A0BF-98EB79576DA4}" type="parTrans" cxnId="{524E82F0-5695-433A-94A9-8A8391863254}">
      <dgm:prSet/>
      <dgm:spPr/>
      <dgm:t>
        <a:bodyPr/>
        <a:lstStyle/>
        <a:p>
          <a:endParaRPr lang="en-US"/>
        </a:p>
      </dgm:t>
    </dgm:pt>
    <dgm:pt modelId="{5D443D22-C7EF-4BCB-87EE-0124B1565AED}" type="sibTrans" cxnId="{524E82F0-5695-433A-94A9-8A8391863254}">
      <dgm:prSet/>
      <dgm:spPr/>
      <dgm:t>
        <a:bodyPr/>
        <a:lstStyle/>
        <a:p>
          <a:endParaRPr lang="en-US"/>
        </a:p>
      </dgm:t>
    </dgm:pt>
    <dgm:pt modelId="{CF5EC0F1-0237-4F97-86CB-34A5021C09ED}">
      <dgm:prSet phldrT="[Text]"/>
      <dgm:spPr/>
      <dgm:t>
        <a:bodyPr/>
        <a:lstStyle/>
        <a:p>
          <a:r>
            <a:rPr lang="en-US" dirty="0"/>
            <a:t>Execute “Recommendation_Engine_Model.py”</a:t>
          </a:r>
        </a:p>
      </dgm:t>
    </dgm:pt>
    <dgm:pt modelId="{C0879CEE-29A8-429B-B56D-AA9D13A36197}" type="parTrans" cxnId="{78BB71C2-2F3D-4D91-901F-218248F0AFBF}">
      <dgm:prSet/>
      <dgm:spPr/>
      <dgm:t>
        <a:bodyPr/>
        <a:lstStyle/>
        <a:p>
          <a:endParaRPr lang="en-US"/>
        </a:p>
      </dgm:t>
    </dgm:pt>
    <dgm:pt modelId="{5F625B79-7B93-4A29-8F67-756F5210DC48}" type="sibTrans" cxnId="{78BB71C2-2F3D-4D91-901F-218248F0AFBF}">
      <dgm:prSet/>
      <dgm:spPr/>
      <dgm:t>
        <a:bodyPr/>
        <a:lstStyle/>
        <a:p>
          <a:endParaRPr lang="en-US"/>
        </a:p>
      </dgm:t>
    </dgm:pt>
    <dgm:pt modelId="{D31AC6C1-BAD7-494D-BE85-C41B70836E89}">
      <dgm:prSet phldrT="[Text]"/>
      <dgm:spPr/>
      <dgm:t>
        <a:bodyPr/>
        <a:lstStyle/>
        <a:p>
          <a:r>
            <a:rPr lang="en-US" dirty="0"/>
            <a:t>Read the merged file</a:t>
          </a:r>
        </a:p>
      </dgm:t>
    </dgm:pt>
    <dgm:pt modelId="{56E333F8-9866-4A6B-953D-1E8A80741379}" type="parTrans" cxnId="{949C27DB-7441-4004-8EB2-DE91C7BFD2B4}">
      <dgm:prSet/>
      <dgm:spPr/>
      <dgm:t>
        <a:bodyPr/>
        <a:lstStyle/>
        <a:p>
          <a:endParaRPr lang="en-US"/>
        </a:p>
      </dgm:t>
    </dgm:pt>
    <dgm:pt modelId="{38E8E779-793D-48E7-B552-EBE12C7924B6}" type="sibTrans" cxnId="{949C27DB-7441-4004-8EB2-DE91C7BFD2B4}">
      <dgm:prSet/>
      <dgm:spPr/>
      <dgm:t>
        <a:bodyPr/>
        <a:lstStyle/>
        <a:p>
          <a:endParaRPr lang="en-US"/>
        </a:p>
      </dgm:t>
    </dgm:pt>
    <dgm:pt modelId="{659E5290-A0A0-4A33-AEE4-D515CE95E716}">
      <dgm:prSet phldrT="[Text]"/>
      <dgm:spPr/>
      <dgm:t>
        <a:bodyPr/>
        <a:lstStyle/>
        <a:p>
          <a:r>
            <a:rPr lang="en-US" dirty="0"/>
            <a:t>Lower Casing All Descriptions, Tokenizing,    Removing tokens with length &lt; 2 and removing stop words.</a:t>
          </a:r>
        </a:p>
        <a:p>
          <a:r>
            <a:rPr lang="en-US" dirty="0"/>
            <a:t>Lemmatizing the tokens</a:t>
          </a:r>
        </a:p>
      </dgm:t>
    </dgm:pt>
    <dgm:pt modelId="{572593DB-CAB9-4089-A384-F3E981F568AF}" type="parTrans" cxnId="{61463933-709C-4A96-961A-6302F44DF9EA}">
      <dgm:prSet/>
      <dgm:spPr/>
      <dgm:t>
        <a:bodyPr/>
        <a:lstStyle/>
        <a:p>
          <a:endParaRPr lang="en-US"/>
        </a:p>
      </dgm:t>
    </dgm:pt>
    <dgm:pt modelId="{B8D9B3EC-EF8F-4004-A8FF-B9331FE7AEF8}" type="sibTrans" cxnId="{61463933-709C-4A96-961A-6302F44DF9EA}">
      <dgm:prSet/>
      <dgm:spPr/>
      <dgm:t>
        <a:bodyPr/>
        <a:lstStyle/>
        <a:p>
          <a:endParaRPr lang="en-US"/>
        </a:p>
      </dgm:t>
    </dgm:pt>
    <dgm:pt modelId="{57E3CF86-CB3E-4214-9916-91E69D331283}">
      <dgm:prSet/>
      <dgm:spPr/>
      <dgm:t>
        <a:bodyPr/>
        <a:lstStyle/>
        <a:p>
          <a:r>
            <a:rPr lang="en-US" dirty="0"/>
            <a:t>Replace Special characters with spaces</a:t>
          </a:r>
        </a:p>
      </dgm:t>
    </dgm:pt>
    <dgm:pt modelId="{11F5D333-5E01-4B27-9DD8-96210D332939}" type="parTrans" cxnId="{98E90E91-5847-4FE9-BD61-BABB83575CF3}">
      <dgm:prSet/>
      <dgm:spPr/>
    </dgm:pt>
    <dgm:pt modelId="{5EFE5751-A364-4110-B04B-20B22801E8C2}" type="sibTrans" cxnId="{98E90E91-5847-4FE9-BD61-BABB83575CF3}">
      <dgm:prSet/>
      <dgm:spPr/>
    </dgm:pt>
    <dgm:pt modelId="{6758CE2D-EA03-4343-A601-D4E7F3416A16}">
      <dgm:prSet/>
      <dgm:spPr/>
      <dgm:t>
        <a:bodyPr/>
        <a:lstStyle/>
        <a:p>
          <a:r>
            <a:rPr lang="en-US" dirty="0"/>
            <a:t>Fill empty rows</a:t>
          </a:r>
        </a:p>
      </dgm:t>
    </dgm:pt>
    <dgm:pt modelId="{42912C35-4F2B-41D3-9E38-30009322730A}" type="parTrans" cxnId="{E4C388B7-C707-42E6-8C87-169FD03B0429}">
      <dgm:prSet/>
      <dgm:spPr/>
    </dgm:pt>
    <dgm:pt modelId="{B91805E0-883C-4018-BA1B-D0A2C2744A54}" type="sibTrans" cxnId="{E4C388B7-C707-42E6-8C87-169FD03B0429}">
      <dgm:prSet/>
      <dgm:spPr/>
    </dgm:pt>
    <dgm:pt modelId="{D996846E-38E4-43A4-8AD0-C7827B838114}">
      <dgm:prSet/>
      <dgm:spPr/>
      <dgm:t>
        <a:bodyPr/>
        <a:lstStyle/>
        <a:p>
          <a:r>
            <a:rPr lang="en-US" dirty="0"/>
            <a:t>Merge all files to one</a:t>
          </a:r>
        </a:p>
      </dgm:t>
    </dgm:pt>
    <dgm:pt modelId="{14527039-9F30-4D6C-ACCA-44D799EEE0FB}" type="parTrans" cxnId="{BF30B536-A1DD-407E-A0B7-AFBDE2B8A6A1}">
      <dgm:prSet/>
      <dgm:spPr/>
    </dgm:pt>
    <dgm:pt modelId="{23056F6E-72E1-402B-8C34-D23304B669E6}" type="sibTrans" cxnId="{BF30B536-A1DD-407E-A0B7-AFBDE2B8A6A1}">
      <dgm:prSet/>
      <dgm:spPr/>
    </dgm:pt>
    <dgm:pt modelId="{99BA5331-A0AE-416C-A642-032CA0C31482}">
      <dgm:prSet/>
      <dgm:spPr/>
      <dgm:t>
        <a:bodyPr/>
        <a:lstStyle/>
        <a:p>
          <a:r>
            <a:rPr lang="en-US" dirty="0"/>
            <a:t>Create N-grams &amp; visuals</a:t>
          </a:r>
        </a:p>
      </dgm:t>
    </dgm:pt>
    <dgm:pt modelId="{A0173693-81FF-412F-B52A-489EF3279CEB}" type="parTrans" cxnId="{71AAF35B-B460-49AC-942C-B2D1E20E8899}">
      <dgm:prSet/>
      <dgm:spPr/>
    </dgm:pt>
    <dgm:pt modelId="{92FE5B04-2227-4F74-9A31-D3D053FD4632}" type="sibTrans" cxnId="{71AAF35B-B460-49AC-942C-B2D1E20E8899}">
      <dgm:prSet/>
      <dgm:spPr/>
    </dgm:pt>
    <dgm:pt modelId="{0FAB7029-7929-4F0A-B4F5-2EF5BFDE3D30}">
      <dgm:prSet/>
      <dgm:spPr/>
      <dgm:t>
        <a:bodyPr/>
        <a:lstStyle/>
        <a:p>
          <a:r>
            <a:rPr lang="en-US" dirty="0"/>
            <a:t>Train and test model</a:t>
          </a:r>
        </a:p>
      </dgm:t>
    </dgm:pt>
    <dgm:pt modelId="{CE13BDB2-5407-45A2-817C-F3D124E743D3}" type="parTrans" cxnId="{D96B811D-1181-439E-BA16-80C67F33EADF}">
      <dgm:prSet/>
      <dgm:spPr/>
    </dgm:pt>
    <dgm:pt modelId="{579A5033-E157-4E10-BBD8-4BC76E02C51B}" type="sibTrans" cxnId="{D96B811D-1181-439E-BA16-80C67F33EADF}">
      <dgm:prSet/>
      <dgm:spPr/>
    </dgm:pt>
    <dgm:pt modelId="{46720677-5FE8-427B-B99C-3DC814B7F3FB}" type="pres">
      <dgm:prSet presAssocID="{29AF93B0-F38A-4B43-968A-D35070C7C67B}" presName="theList" presStyleCnt="0">
        <dgm:presLayoutVars>
          <dgm:dir/>
          <dgm:animLvl val="lvl"/>
          <dgm:resizeHandles val="exact"/>
        </dgm:presLayoutVars>
      </dgm:prSet>
      <dgm:spPr/>
    </dgm:pt>
    <dgm:pt modelId="{2A927587-63DD-4197-B7A6-473FD7AA04AE}" type="pres">
      <dgm:prSet presAssocID="{D8B36181-DBC5-49B3-87E9-FF7E00BD42D4}" presName="compNode" presStyleCnt="0"/>
      <dgm:spPr/>
    </dgm:pt>
    <dgm:pt modelId="{FEC8361A-7258-46CC-8232-E3035411DC74}" type="pres">
      <dgm:prSet presAssocID="{D8B36181-DBC5-49B3-87E9-FF7E00BD42D4}" presName="aNode" presStyleLbl="bgShp" presStyleIdx="0" presStyleCnt="3"/>
      <dgm:spPr/>
    </dgm:pt>
    <dgm:pt modelId="{C96ADD5E-E58E-4430-9FE0-1B405DE98A7A}" type="pres">
      <dgm:prSet presAssocID="{D8B36181-DBC5-49B3-87E9-FF7E00BD42D4}" presName="textNode" presStyleLbl="bgShp" presStyleIdx="0" presStyleCnt="3"/>
      <dgm:spPr/>
    </dgm:pt>
    <dgm:pt modelId="{381F290E-07F0-42BF-956F-C23BFEE3244A}" type="pres">
      <dgm:prSet presAssocID="{D8B36181-DBC5-49B3-87E9-FF7E00BD42D4}" presName="compChildNode" presStyleCnt="0"/>
      <dgm:spPr/>
    </dgm:pt>
    <dgm:pt modelId="{D00B3B37-CDE8-48F3-8EE7-691649A9CFFA}" type="pres">
      <dgm:prSet presAssocID="{D8B36181-DBC5-49B3-87E9-FF7E00BD42D4}" presName="theInnerList" presStyleCnt="0"/>
      <dgm:spPr/>
    </dgm:pt>
    <dgm:pt modelId="{D9AFC8F8-739B-49ED-B341-F551BC05C50E}" type="pres">
      <dgm:prSet presAssocID="{57E382B1-35D3-4711-805B-27D96CAC6EB9}" presName="childNode" presStyleLbl="node1" presStyleIdx="0" presStyleCnt="10">
        <dgm:presLayoutVars>
          <dgm:bulletEnabled val="1"/>
        </dgm:presLayoutVars>
      </dgm:prSet>
      <dgm:spPr/>
    </dgm:pt>
    <dgm:pt modelId="{98692C74-C2F9-4759-B7F1-48572DF0B2C0}" type="pres">
      <dgm:prSet presAssocID="{57E382B1-35D3-4711-805B-27D96CAC6EB9}" presName="aSpace2" presStyleCnt="0"/>
      <dgm:spPr/>
    </dgm:pt>
    <dgm:pt modelId="{3989E49F-24B9-4933-B2AE-B14026AA72CF}" type="pres">
      <dgm:prSet presAssocID="{57E3CF86-CB3E-4214-9916-91E69D331283}" presName="childNode" presStyleLbl="node1" presStyleIdx="1" presStyleCnt="10">
        <dgm:presLayoutVars>
          <dgm:bulletEnabled val="1"/>
        </dgm:presLayoutVars>
      </dgm:prSet>
      <dgm:spPr/>
    </dgm:pt>
    <dgm:pt modelId="{6771A024-5692-4078-98B7-3525FBFB4109}" type="pres">
      <dgm:prSet presAssocID="{57E3CF86-CB3E-4214-9916-91E69D331283}" presName="aSpace2" presStyleCnt="0"/>
      <dgm:spPr/>
    </dgm:pt>
    <dgm:pt modelId="{2370C1C3-9E9E-463D-83F4-D788ED438B0F}" type="pres">
      <dgm:prSet presAssocID="{6758CE2D-EA03-4343-A601-D4E7F3416A16}" presName="childNode" presStyleLbl="node1" presStyleIdx="2" presStyleCnt="10">
        <dgm:presLayoutVars>
          <dgm:bulletEnabled val="1"/>
        </dgm:presLayoutVars>
      </dgm:prSet>
      <dgm:spPr/>
    </dgm:pt>
    <dgm:pt modelId="{838552F7-673F-4878-A573-984DAF5288FD}" type="pres">
      <dgm:prSet presAssocID="{6758CE2D-EA03-4343-A601-D4E7F3416A16}" presName="aSpace2" presStyleCnt="0"/>
      <dgm:spPr/>
    </dgm:pt>
    <dgm:pt modelId="{89BA899A-F22E-4F2A-A049-A4ACB6972765}" type="pres">
      <dgm:prSet presAssocID="{B50F3CB1-2990-44A3-809F-573EA6809D32}" presName="childNode" presStyleLbl="node1" presStyleIdx="3" presStyleCnt="10">
        <dgm:presLayoutVars>
          <dgm:bulletEnabled val="1"/>
        </dgm:presLayoutVars>
      </dgm:prSet>
      <dgm:spPr/>
    </dgm:pt>
    <dgm:pt modelId="{B0A4CFCA-CD77-4A3E-8AA1-C19B54942DE2}" type="pres">
      <dgm:prSet presAssocID="{D8B36181-DBC5-49B3-87E9-FF7E00BD42D4}" presName="aSpace" presStyleCnt="0"/>
      <dgm:spPr/>
    </dgm:pt>
    <dgm:pt modelId="{72B1CB08-1D11-40CA-A1BE-D9A1D84FBC47}" type="pres">
      <dgm:prSet presAssocID="{ECF58E13-4E6C-450D-8EA3-E572659D6826}" presName="compNode" presStyleCnt="0"/>
      <dgm:spPr/>
    </dgm:pt>
    <dgm:pt modelId="{3B9FA873-519D-4BA0-A67C-C5D8DE4D3A1C}" type="pres">
      <dgm:prSet presAssocID="{ECF58E13-4E6C-450D-8EA3-E572659D6826}" presName="aNode" presStyleLbl="bgShp" presStyleIdx="1" presStyleCnt="3"/>
      <dgm:spPr/>
    </dgm:pt>
    <dgm:pt modelId="{29FDE034-B587-4F86-8174-8B0D324FA8AE}" type="pres">
      <dgm:prSet presAssocID="{ECF58E13-4E6C-450D-8EA3-E572659D6826}" presName="textNode" presStyleLbl="bgShp" presStyleIdx="1" presStyleCnt="3"/>
      <dgm:spPr/>
    </dgm:pt>
    <dgm:pt modelId="{C7CED336-182B-4A4E-9154-86DD4D76B267}" type="pres">
      <dgm:prSet presAssocID="{ECF58E13-4E6C-450D-8EA3-E572659D6826}" presName="compChildNode" presStyleCnt="0"/>
      <dgm:spPr/>
    </dgm:pt>
    <dgm:pt modelId="{C6A7250D-B953-42D3-8F96-BDBB27DFD6D8}" type="pres">
      <dgm:prSet presAssocID="{ECF58E13-4E6C-450D-8EA3-E572659D6826}" presName="theInnerList" presStyleCnt="0"/>
      <dgm:spPr/>
    </dgm:pt>
    <dgm:pt modelId="{90FDB9B7-9F02-4136-9B94-829C16AC1BBE}" type="pres">
      <dgm:prSet presAssocID="{D75A41DF-2E2D-4DD0-A255-7784689C25F4}" presName="childNode" presStyleLbl="node1" presStyleIdx="4" presStyleCnt="10">
        <dgm:presLayoutVars>
          <dgm:bulletEnabled val="1"/>
        </dgm:presLayoutVars>
      </dgm:prSet>
      <dgm:spPr/>
    </dgm:pt>
    <dgm:pt modelId="{19842FE7-8422-466E-972A-2862157986D7}" type="pres">
      <dgm:prSet presAssocID="{D75A41DF-2E2D-4DD0-A255-7784689C25F4}" presName="aSpace2" presStyleCnt="0"/>
      <dgm:spPr/>
    </dgm:pt>
    <dgm:pt modelId="{2F37D500-6AC5-45AB-BFF8-8DA41B50A8A9}" type="pres">
      <dgm:prSet presAssocID="{D996846E-38E4-43A4-8AD0-C7827B838114}" presName="childNode" presStyleLbl="node1" presStyleIdx="5" presStyleCnt="10">
        <dgm:presLayoutVars>
          <dgm:bulletEnabled val="1"/>
        </dgm:presLayoutVars>
      </dgm:prSet>
      <dgm:spPr/>
    </dgm:pt>
    <dgm:pt modelId="{083EAB37-F46F-431F-969A-60B0ACF40568}" type="pres">
      <dgm:prSet presAssocID="{ECF58E13-4E6C-450D-8EA3-E572659D6826}" presName="aSpace" presStyleCnt="0"/>
      <dgm:spPr/>
    </dgm:pt>
    <dgm:pt modelId="{BAC34577-916F-4F4A-9CCF-E34D57F73A59}" type="pres">
      <dgm:prSet presAssocID="{CF5EC0F1-0237-4F97-86CB-34A5021C09ED}" presName="compNode" presStyleCnt="0"/>
      <dgm:spPr/>
    </dgm:pt>
    <dgm:pt modelId="{91303E37-8BC7-4230-B91D-29C6F27F27D7}" type="pres">
      <dgm:prSet presAssocID="{CF5EC0F1-0237-4F97-86CB-34A5021C09ED}" presName="aNode" presStyleLbl="bgShp" presStyleIdx="2" presStyleCnt="3"/>
      <dgm:spPr/>
    </dgm:pt>
    <dgm:pt modelId="{FEBCE23E-E5F7-4B3F-BAC7-14FAC073502C}" type="pres">
      <dgm:prSet presAssocID="{CF5EC0F1-0237-4F97-86CB-34A5021C09ED}" presName="textNode" presStyleLbl="bgShp" presStyleIdx="2" presStyleCnt="3"/>
      <dgm:spPr/>
    </dgm:pt>
    <dgm:pt modelId="{DDF668CB-9334-4C91-9601-BFB3E66331DA}" type="pres">
      <dgm:prSet presAssocID="{CF5EC0F1-0237-4F97-86CB-34A5021C09ED}" presName="compChildNode" presStyleCnt="0"/>
      <dgm:spPr/>
    </dgm:pt>
    <dgm:pt modelId="{B25C568E-12C2-4B81-9168-93B062D88E30}" type="pres">
      <dgm:prSet presAssocID="{CF5EC0F1-0237-4F97-86CB-34A5021C09ED}" presName="theInnerList" presStyleCnt="0"/>
      <dgm:spPr/>
    </dgm:pt>
    <dgm:pt modelId="{27C073ED-823D-4260-8E13-ED315C845665}" type="pres">
      <dgm:prSet presAssocID="{D31AC6C1-BAD7-494D-BE85-C41B70836E89}" presName="childNode" presStyleLbl="node1" presStyleIdx="6" presStyleCnt="10">
        <dgm:presLayoutVars>
          <dgm:bulletEnabled val="1"/>
        </dgm:presLayoutVars>
      </dgm:prSet>
      <dgm:spPr/>
    </dgm:pt>
    <dgm:pt modelId="{5FD54C87-630E-480D-828F-E9B4AF073E2D}" type="pres">
      <dgm:prSet presAssocID="{D31AC6C1-BAD7-494D-BE85-C41B70836E89}" presName="aSpace2" presStyleCnt="0"/>
      <dgm:spPr/>
    </dgm:pt>
    <dgm:pt modelId="{9CD00062-DB99-486E-9E51-25A854F705FA}" type="pres">
      <dgm:prSet presAssocID="{659E5290-A0A0-4A33-AEE4-D515CE95E716}" presName="childNode" presStyleLbl="node1" presStyleIdx="7" presStyleCnt="10">
        <dgm:presLayoutVars>
          <dgm:bulletEnabled val="1"/>
        </dgm:presLayoutVars>
      </dgm:prSet>
      <dgm:spPr/>
    </dgm:pt>
    <dgm:pt modelId="{D6B864E3-2100-4054-BE01-23DF7DE9A241}" type="pres">
      <dgm:prSet presAssocID="{659E5290-A0A0-4A33-AEE4-D515CE95E716}" presName="aSpace2" presStyleCnt="0"/>
      <dgm:spPr/>
    </dgm:pt>
    <dgm:pt modelId="{3C6A0F72-EB08-4911-B049-2E6741993C06}" type="pres">
      <dgm:prSet presAssocID="{99BA5331-A0AE-416C-A642-032CA0C31482}" presName="childNode" presStyleLbl="node1" presStyleIdx="8" presStyleCnt="10">
        <dgm:presLayoutVars>
          <dgm:bulletEnabled val="1"/>
        </dgm:presLayoutVars>
      </dgm:prSet>
      <dgm:spPr/>
    </dgm:pt>
    <dgm:pt modelId="{5FC74E5E-3B46-4BB0-B54B-753CD7E83099}" type="pres">
      <dgm:prSet presAssocID="{99BA5331-A0AE-416C-A642-032CA0C31482}" presName="aSpace2" presStyleCnt="0"/>
      <dgm:spPr/>
    </dgm:pt>
    <dgm:pt modelId="{5D0333E0-B0A4-4573-802F-37E654313505}" type="pres">
      <dgm:prSet presAssocID="{0FAB7029-7929-4F0A-B4F5-2EF5BFDE3D30}" presName="childNode" presStyleLbl="node1" presStyleIdx="9" presStyleCnt="10">
        <dgm:presLayoutVars>
          <dgm:bulletEnabled val="1"/>
        </dgm:presLayoutVars>
      </dgm:prSet>
      <dgm:spPr/>
    </dgm:pt>
  </dgm:ptLst>
  <dgm:cxnLst>
    <dgm:cxn modelId="{D96B811D-1181-439E-BA16-80C67F33EADF}" srcId="{CF5EC0F1-0237-4F97-86CB-34A5021C09ED}" destId="{0FAB7029-7929-4F0A-B4F5-2EF5BFDE3D30}" srcOrd="3" destOrd="0" parTransId="{CE13BDB2-5407-45A2-817C-F3D124E743D3}" sibTransId="{579A5033-E157-4E10-BBD8-4BC76E02C51B}"/>
    <dgm:cxn modelId="{EE32191F-8CBA-48EF-975A-24D86A35B6D0}" type="presOf" srcId="{29AF93B0-F38A-4B43-968A-D35070C7C67B}" destId="{46720677-5FE8-427B-B99C-3DC814B7F3FB}" srcOrd="0" destOrd="0" presId="urn:microsoft.com/office/officeart/2005/8/layout/lProcess2"/>
    <dgm:cxn modelId="{378B4F23-462F-4B74-B496-0FC001506397}" type="presOf" srcId="{ECF58E13-4E6C-450D-8EA3-E572659D6826}" destId="{29FDE034-B587-4F86-8174-8B0D324FA8AE}" srcOrd="1" destOrd="0" presId="urn:microsoft.com/office/officeart/2005/8/layout/lProcess2"/>
    <dgm:cxn modelId="{61463933-709C-4A96-961A-6302F44DF9EA}" srcId="{CF5EC0F1-0237-4F97-86CB-34A5021C09ED}" destId="{659E5290-A0A0-4A33-AEE4-D515CE95E716}" srcOrd="1" destOrd="0" parTransId="{572593DB-CAB9-4089-A384-F3E981F568AF}" sibTransId="{B8D9B3EC-EF8F-4004-A8FF-B9331FE7AEF8}"/>
    <dgm:cxn modelId="{F1007B33-7FE1-412F-BD81-6B7F75315BFE}" srcId="{D8B36181-DBC5-49B3-87E9-FF7E00BD42D4}" destId="{57E382B1-35D3-4711-805B-27D96CAC6EB9}" srcOrd="0" destOrd="0" parTransId="{6AA7880F-BCF9-405E-92B8-0661FC252F19}" sibTransId="{2EF9EEF3-119F-4C18-906F-B727D845DBD3}"/>
    <dgm:cxn modelId="{BF30B536-A1DD-407E-A0B7-AFBDE2B8A6A1}" srcId="{ECF58E13-4E6C-450D-8EA3-E572659D6826}" destId="{D996846E-38E4-43A4-8AD0-C7827B838114}" srcOrd="1" destOrd="0" parTransId="{14527039-9F30-4D6C-ACCA-44D799EEE0FB}" sibTransId="{23056F6E-72E1-402B-8C34-D23304B669E6}"/>
    <dgm:cxn modelId="{CA99C23F-DBB2-4BB8-A540-DF708026CCB7}" type="presOf" srcId="{0FAB7029-7929-4F0A-B4F5-2EF5BFDE3D30}" destId="{5D0333E0-B0A4-4573-802F-37E654313505}" srcOrd="0" destOrd="0" presId="urn:microsoft.com/office/officeart/2005/8/layout/lProcess2"/>
    <dgm:cxn modelId="{71AAF35B-B460-49AC-942C-B2D1E20E8899}" srcId="{CF5EC0F1-0237-4F97-86CB-34A5021C09ED}" destId="{99BA5331-A0AE-416C-A642-032CA0C31482}" srcOrd="2" destOrd="0" parTransId="{A0173693-81FF-412F-B52A-489EF3279CEB}" sibTransId="{92FE5B04-2227-4F74-9A31-D3D053FD4632}"/>
    <dgm:cxn modelId="{B596AA5D-96B6-41AC-AC23-C31D8C20D43C}" type="presOf" srcId="{D8B36181-DBC5-49B3-87E9-FF7E00BD42D4}" destId="{FEC8361A-7258-46CC-8232-E3035411DC74}" srcOrd="0" destOrd="0" presId="urn:microsoft.com/office/officeart/2005/8/layout/lProcess2"/>
    <dgm:cxn modelId="{CD32755E-D44F-4E67-8ABE-ED7B80FBDD3D}" type="presOf" srcId="{D8B36181-DBC5-49B3-87E9-FF7E00BD42D4}" destId="{C96ADD5E-E58E-4430-9FE0-1B405DE98A7A}" srcOrd="1" destOrd="0" presId="urn:microsoft.com/office/officeart/2005/8/layout/lProcess2"/>
    <dgm:cxn modelId="{FD125F41-34CB-438B-B709-D14AAA7BB82F}" srcId="{29AF93B0-F38A-4B43-968A-D35070C7C67B}" destId="{ECF58E13-4E6C-450D-8EA3-E572659D6826}" srcOrd="1" destOrd="0" parTransId="{8AA23BC3-6FAB-47C8-96A7-DD17EDF7FCA2}" sibTransId="{66C2544E-9FF7-41AC-B5EA-6C3298EAF62F}"/>
    <dgm:cxn modelId="{6E831D64-9270-47D6-9C46-D6C7DC4DFA48}" type="presOf" srcId="{57E3CF86-CB3E-4214-9916-91E69D331283}" destId="{3989E49F-24B9-4933-B2AE-B14026AA72CF}" srcOrd="0" destOrd="0" presId="urn:microsoft.com/office/officeart/2005/8/layout/lProcess2"/>
    <dgm:cxn modelId="{A5E31A4B-2B2C-4063-9EAB-8BDD32BF1677}" type="presOf" srcId="{57E382B1-35D3-4711-805B-27D96CAC6EB9}" destId="{D9AFC8F8-739B-49ED-B341-F551BC05C50E}" srcOrd="0" destOrd="0" presId="urn:microsoft.com/office/officeart/2005/8/layout/lProcess2"/>
    <dgm:cxn modelId="{E7072A4D-9632-4ACB-B101-04C89A4F1CE5}" type="presOf" srcId="{659E5290-A0A0-4A33-AEE4-D515CE95E716}" destId="{9CD00062-DB99-486E-9E51-25A854F705FA}" srcOrd="0" destOrd="0" presId="urn:microsoft.com/office/officeart/2005/8/layout/lProcess2"/>
    <dgm:cxn modelId="{6569E74D-B209-4282-BDC6-49FD13B23044}" type="presOf" srcId="{B50F3CB1-2990-44A3-809F-573EA6809D32}" destId="{89BA899A-F22E-4F2A-A049-A4ACB6972765}" srcOrd="0" destOrd="0" presId="urn:microsoft.com/office/officeart/2005/8/layout/lProcess2"/>
    <dgm:cxn modelId="{AD75626E-11E1-4811-A693-742BEEE5529F}" type="presOf" srcId="{D75A41DF-2E2D-4DD0-A255-7784689C25F4}" destId="{90FDB9B7-9F02-4136-9B94-829C16AC1BBE}" srcOrd="0" destOrd="0" presId="urn:microsoft.com/office/officeart/2005/8/layout/lProcess2"/>
    <dgm:cxn modelId="{2DF3D850-8C1C-4F65-A2E4-8CB5DC4EB01E}" type="presOf" srcId="{CF5EC0F1-0237-4F97-86CB-34A5021C09ED}" destId="{FEBCE23E-E5F7-4B3F-BAC7-14FAC073502C}" srcOrd="1" destOrd="0" presId="urn:microsoft.com/office/officeart/2005/8/layout/lProcess2"/>
    <dgm:cxn modelId="{5FEF7B53-BD83-47DE-A7CD-B7094C979112}" type="presOf" srcId="{D996846E-38E4-43A4-8AD0-C7827B838114}" destId="{2F37D500-6AC5-45AB-BFF8-8DA41B50A8A9}" srcOrd="0" destOrd="0" presId="urn:microsoft.com/office/officeart/2005/8/layout/lProcess2"/>
    <dgm:cxn modelId="{F1EC6877-0693-4EE8-AAB5-7951B116CE69}" type="presOf" srcId="{99BA5331-A0AE-416C-A642-032CA0C31482}" destId="{3C6A0F72-EB08-4911-B049-2E6741993C06}" srcOrd="0" destOrd="0" presId="urn:microsoft.com/office/officeart/2005/8/layout/lProcess2"/>
    <dgm:cxn modelId="{98E90E91-5847-4FE9-BD61-BABB83575CF3}" srcId="{D8B36181-DBC5-49B3-87E9-FF7E00BD42D4}" destId="{57E3CF86-CB3E-4214-9916-91E69D331283}" srcOrd="1" destOrd="0" parTransId="{11F5D333-5E01-4B27-9DD8-96210D332939}" sibTransId="{5EFE5751-A364-4110-B04B-20B22801E8C2}"/>
    <dgm:cxn modelId="{E4C388B7-C707-42E6-8C87-169FD03B0429}" srcId="{D8B36181-DBC5-49B3-87E9-FF7E00BD42D4}" destId="{6758CE2D-EA03-4343-A601-D4E7F3416A16}" srcOrd="2" destOrd="0" parTransId="{42912C35-4F2B-41D3-9E38-30009322730A}" sibTransId="{B91805E0-883C-4018-BA1B-D0A2C2744A54}"/>
    <dgm:cxn modelId="{A40F48B9-7894-47F5-A5F7-0C6B7C6070B4}" type="presOf" srcId="{D31AC6C1-BAD7-494D-BE85-C41B70836E89}" destId="{27C073ED-823D-4260-8E13-ED315C845665}" srcOrd="0" destOrd="0" presId="urn:microsoft.com/office/officeart/2005/8/layout/lProcess2"/>
    <dgm:cxn modelId="{78BB71C2-2F3D-4D91-901F-218248F0AFBF}" srcId="{29AF93B0-F38A-4B43-968A-D35070C7C67B}" destId="{CF5EC0F1-0237-4F97-86CB-34A5021C09ED}" srcOrd="2" destOrd="0" parTransId="{C0879CEE-29A8-429B-B56D-AA9D13A36197}" sibTransId="{5F625B79-7B93-4A29-8F67-756F5210DC48}"/>
    <dgm:cxn modelId="{D72D34D8-AD8F-490E-A12F-2ADC6DEA3297}" type="presOf" srcId="{ECF58E13-4E6C-450D-8EA3-E572659D6826}" destId="{3B9FA873-519D-4BA0-A67C-C5D8DE4D3A1C}" srcOrd="0" destOrd="0" presId="urn:microsoft.com/office/officeart/2005/8/layout/lProcess2"/>
    <dgm:cxn modelId="{949C27DB-7441-4004-8EB2-DE91C7BFD2B4}" srcId="{CF5EC0F1-0237-4F97-86CB-34A5021C09ED}" destId="{D31AC6C1-BAD7-494D-BE85-C41B70836E89}" srcOrd="0" destOrd="0" parTransId="{56E333F8-9866-4A6B-953D-1E8A80741379}" sibTransId="{38E8E779-793D-48E7-B552-EBE12C7924B6}"/>
    <dgm:cxn modelId="{253FBFDD-689D-4A5B-B15A-F865C0F5D7DE}" srcId="{29AF93B0-F38A-4B43-968A-D35070C7C67B}" destId="{D8B36181-DBC5-49B3-87E9-FF7E00BD42D4}" srcOrd="0" destOrd="0" parTransId="{8CCDB606-0024-4278-A12B-8D9C3CAF3688}" sibTransId="{6ED16F9E-F7D9-4F95-9061-BC1F5FF79B67}"/>
    <dgm:cxn modelId="{F776DFE3-43A8-46A3-BD06-0D02BE260A13}" type="presOf" srcId="{6758CE2D-EA03-4343-A601-D4E7F3416A16}" destId="{2370C1C3-9E9E-463D-83F4-D788ED438B0F}" srcOrd="0" destOrd="0" presId="urn:microsoft.com/office/officeart/2005/8/layout/lProcess2"/>
    <dgm:cxn modelId="{923A43EB-1517-46EF-B669-B69388AB6F63}" type="presOf" srcId="{CF5EC0F1-0237-4F97-86CB-34A5021C09ED}" destId="{91303E37-8BC7-4230-B91D-29C6F27F27D7}" srcOrd="0" destOrd="0" presId="urn:microsoft.com/office/officeart/2005/8/layout/lProcess2"/>
    <dgm:cxn modelId="{524E82F0-5695-433A-94A9-8A8391863254}" srcId="{ECF58E13-4E6C-450D-8EA3-E572659D6826}" destId="{D75A41DF-2E2D-4DD0-A255-7784689C25F4}" srcOrd="0" destOrd="0" parTransId="{828EE94C-B30A-4515-A0BF-98EB79576DA4}" sibTransId="{5D443D22-C7EF-4BCB-87EE-0124B1565AED}"/>
    <dgm:cxn modelId="{8EBA24F9-0D78-45A0-9E8A-410893BFBB81}" srcId="{D8B36181-DBC5-49B3-87E9-FF7E00BD42D4}" destId="{B50F3CB1-2990-44A3-809F-573EA6809D32}" srcOrd="3" destOrd="0" parTransId="{BB01F559-A33C-4375-BF64-D1E2B0FA76A6}" sibTransId="{0EFADAB4-DC91-46A9-A7F5-B16E030B0463}"/>
    <dgm:cxn modelId="{5F85CF09-E867-4BB7-9B02-EF1FE5F36E0D}" type="presParOf" srcId="{46720677-5FE8-427B-B99C-3DC814B7F3FB}" destId="{2A927587-63DD-4197-B7A6-473FD7AA04AE}" srcOrd="0" destOrd="0" presId="urn:microsoft.com/office/officeart/2005/8/layout/lProcess2"/>
    <dgm:cxn modelId="{4DF56CA0-1869-4EDC-8E20-1D908AC6263F}" type="presParOf" srcId="{2A927587-63DD-4197-B7A6-473FD7AA04AE}" destId="{FEC8361A-7258-46CC-8232-E3035411DC74}" srcOrd="0" destOrd="0" presId="urn:microsoft.com/office/officeart/2005/8/layout/lProcess2"/>
    <dgm:cxn modelId="{C3C3CDE7-2651-46CB-A12B-5853B7811268}" type="presParOf" srcId="{2A927587-63DD-4197-B7A6-473FD7AA04AE}" destId="{C96ADD5E-E58E-4430-9FE0-1B405DE98A7A}" srcOrd="1" destOrd="0" presId="urn:microsoft.com/office/officeart/2005/8/layout/lProcess2"/>
    <dgm:cxn modelId="{25EB84DA-98DD-4A12-B727-772C8221903B}" type="presParOf" srcId="{2A927587-63DD-4197-B7A6-473FD7AA04AE}" destId="{381F290E-07F0-42BF-956F-C23BFEE3244A}" srcOrd="2" destOrd="0" presId="urn:microsoft.com/office/officeart/2005/8/layout/lProcess2"/>
    <dgm:cxn modelId="{3649E04F-1218-4123-8F2F-ED1A927E3099}" type="presParOf" srcId="{381F290E-07F0-42BF-956F-C23BFEE3244A}" destId="{D00B3B37-CDE8-48F3-8EE7-691649A9CFFA}" srcOrd="0" destOrd="0" presId="urn:microsoft.com/office/officeart/2005/8/layout/lProcess2"/>
    <dgm:cxn modelId="{EF3A0FDE-38EE-46DE-AF09-15570F817FEE}" type="presParOf" srcId="{D00B3B37-CDE8-48F3-8EE7-691649A9CFFA}" destId="{D9AFC8F8-739B-49ED-B341-F551BC05C50E}" srcOrd="0" destOrd="0" presId="urn:microsoft.com/office/officeart/2005/8/layout/lProcess2"/>
    <dgm:cxn modelId="{1A139BE3-6948-4169-8A36-11D4AB996AAF}" type="presParOf" srcId="{D00B3B37-CDE8-48F3-8EE7-691649A9CFFA}" destId="{98692C74-C2F9-4759-B7F1-48572DF0B2C0}" srcOrd="1" destOrd="0" presId="urn:microsoft.com/office/officeart/2005/8/layout/lProcess2"/>
    <dgm:cxn modelId="{0625276B-6CE8-4F81-917B-3E5BF6B361FC}" type="presParOf" srcId="{D00B3B37-CDE8-48F3-8EE7-691649A9CFFA}" destId="{3989E49F-24B9-4933-B2AE-B14026AA72CF}" srcOrd="2" destOrd="0" presId="urn:microsoft.com/office/officeart/2005/8/layout/lProcess2"/>
    <dgm:cxn modelId="{687D8273-8886-485F-85EC-28F82DD30DEC}" type="presParOf" srcId="{D00B3B37-CDE8-48F3-8EE7-691649A9CFFA}" destId="{6771A024-5692-4078-98B7-3525FBFB4109}" srcOrd="3" destOrd="0" presId="urn:microsoft.com/office/officeart/2005/8/layout/lProcess2"/>
    <dgm:cxn modelId="{A58E2DEA-1CCE-4BDC-9F45-322EC51E3BED}" type="presParOf" srcId="{D00B3B37-CDE8-48F3-8EE7-691649A9CFFA}" destId="{2370C1C3-9E9E-463D-83F4-D788ED438B0F}" srcOrd="4" destOrd="0" presId="urn:microsoft.com/office/officeart/2005/8/layout/lProcess2"/>
    <dgm:cxn modelId="{1EA53D3B-B09B-42CA-A0F8-CE0B3622F07C}" type="presParOf" srcId="{D00B3B37-CDE8-48F3-8EE7-691649A9CFFA}" destId="{838552F7-673F-4878-A573-984DAF5288FD}" srcOrd="5" destOrd="0" presId="urn:microsoft.com/office/officeart/2005/8/layout/lProcess2"/>
    <dgm:cxn modelId="{6FB1AAF1-0C0F-4CEF-AB1E-EBCC7076D390}" type="presParOf" srcId="{D00B3B37-CDE8-48F3-8EE7-691649A9CFFA}" destId="{89BA899A-F22E-4F2A-A049-A4ACB6972765}" srcOrd="6" destOrd="0" presId="urn:microsoft.com/office/officeart/2005/8/layout/lProcess2"/>
    <dgm:cxn modelId="{AF0A871D-7759-4AE0-ADEB-B7F15BF6B5B5}" type="presParOf" srcId="{46720677-5FE8-427B-B99C-3DC814B7F3FB}" destId="{B0A4CFCA-CD77-4A3E-8AA1-C19B54942DE2}" srcOrd="1" destOrd="0" presId="urn:microsoft.com/office/officeart/2005/8/layout/lProcess2"/>
    <dgm:cxn modelId="{B7773494-F5E6-4A6F-A2DD-A121A87C4352}" type="presParOf" srcId="{46720677-5FE8-427B-B99C-3DC814B7F3FB}" destId="{72B1CB08-1D11-40CA-A1BE-D9A1D84FBC47}" srcOrd="2" destOrd="0" presId="urn:microsoft.com/office/officeart/2005/8/layout/lProcess2"/>
    <dgm:cxn modelId="{761CACF9-77E5-44EA-842A-1C1A9E1250E5}" type="presParOf" srcId="{72B1CB08-1D11-40CA-A1BE-D9A1D84FBC47}" destId="{3B9FA873-519D-4BA0-A67C-C5D8DE4D3A1C}" srcOrd="0" destOrd="0" presId="urn:microsoft.com/office/officeart/2005/8/layout/lProcess2"/>
    <dgm:cxn modelId="{AE819353-0CB6-4292-9A74-EC6B35005CF0}" type="presParOf" srcId="{72B1CB08-1D11-40CA-A1BE-D9A1D84FBC47}" destId="{29FDE034-B587-4F86-8174-8B0D324FA8AE}" srcOrd="1" destOrd="0" presId="urn:microsoft.com/office/officeart/2005/8/layout/lProcess2"/>
    <dgm:cxn modelId="{B205D9CD-CB4F-4663-861E-25605E25E4BF}" type="presParOf" srcId="{72B1CB08-1D11-40CA-A1BE-D9A1D84FBC47}" destId="{C7CED336-182B-4A4E-9154-86DD4D76B267}" srcOrd="2" destOrd="0" presId="urn:microsoft.com/office/officeart/2005/8/layout/lProcess2"/>
    <dgm:cxn modelId="{3DD99A1A-E995-48BD-8CB4-0F0D11602A5D}" type="presParOf" srcId="{C7CED336-182B-4A4E-9154-86DD4D76B267}" destId="{C6A7250D-B953-42D3-8F96-BDBB27DFD6D8}" srcOrd="0" destOrd="0" presId="urn:microsoft.com/office/officeart/2005/8/layout/lProcess2"/>
    <dgm:cxn modelId="{60F2FE54-0477-4DFF-999F-7A7FB6CFB52D}" type="presParOf" srcId="{C6A7250D-B953-42D3-8F96-BDBB27DFD6D8}" destId="{90FDB9B7-9F02-4136-9B94-829C16AC1BBE}" srcOrd="0" destOrd="0" presId="urn:microsoft.com/office/officeart/2005/8/layout/lProcess2"/>
    <dgm:cxn modelId="{0556803E-9478-4A6F-A811-E980E67FFDEE}" type="presParOf" srcId="{C6A7250D-B953-42D3-8F96-BDBB27DFD6D8}" destId="{19842FE7-8422-466E-972A-2862157986D7}" srcOrd="1" destOrd="0" presId="urn:microsoft.com/office/officeart/2005/8/layout/lProcess2"/>
    <dgm:cxn modelId="{34E601AE-C964-4D76-9134-1CE03CF88DB4}" type="presParOf" srcId="{C6A7250D-B953-42D3-8F96-BDBB27DFD6D8}" destId="{2F37D500-6AC5-45AB-BFF8-8DA41B50A8A9}" srcOrd="2" destOrd="0" presId="urn:microsoft.com/office/officeart/2005/8/layout/lProcess2"/>
    <dgm:cxn modelId="{7CD3A39D-6F5F-4E4F-985F-9D058AE09AE8}" type="presParOf" srcId="{46720677-5FE8-427B-B99C-3DC814B7F3FB}" destId="{083EAB37-F46F-431F-969A-60B0ACF40568}" srcOrd="3" destOrd="0" presId="urn:microsoft.com/office/officeart/2005/8/layout/lProcess2"/>
    <dgm:cxn modelId="{44B00127-CA82-45C7-AD95-DEB89D1E8FF5}" type="presParOf" srcId="{46720677-5FE8-427B-B99C-3DC814B7F3FB}" destId="{BAC34577-916F-4F4A-9CCF-E34D57F73A59}" srcOrd="4" destOrd="0" presId="urn:microsoft.com/office/officeart/2005/8/layout/lProcess2"/>
    <dgm:cxn modelId="{2C810B26-B788-47BE-B7AE-6D224C7026F9}" type="presParOf" srcId="{BAC34577-916F-4F4A-9CCF-E34D57F73A59}" destId="{91303E37-8BC7-4230-B91D-29C6F27F27D7}" srcOrd="0" destOrd="0" presId="urn:microsoft.com/office/officeart/2005/8/layout/lProcess2"/>
    <dgm:cxn modelId="{06A3235A-7F07-42CC-B168-0E592B5A4DF5}" type="presParOf" srcId="{BAC34577-916F-4F4A-9CCF-E34D57F73A59}" destId="{FEBCE23E-E5F7-4B3F-BAC7-14FAC073502C}" srcOrd="1" destOrd="0" presId="urn:microsoft.com/office/officeart/2005/8/layout/lProcess2"/>
    <dgm:cxn modelId="{9658560B-E979-4807-84A8-03BCC99C256A}" type="presParOf" srcId="{BAC34577-916F-4F4A-9CCF-E34D57F73A59}" destId="{DDF668CB-9334-4C91-9601-BFB3E66331DA}" srcOrd="2" destOrd="0" presId="urn:microsoft.com/office/officeart/2005/8/layout/lProcess2"/>
    <dgm:cxn modelId="{E496AD2A-6305-44EB-B0C2-49D9AAB19F73}" type="presParOf" srcId="{DDF668CB-9334-4C91-9601-BFB3E66331DA}" destId="{B25C568E-12C2-4B81-9168-93B062D88E30}" srcOrd="0" destOrd="0" presId="urn:microsoft.com/office/officeart/2005/8/layout/lProcess2"/>
    <dgm:cxn modelId="{1AB248DC-B523-4674-82BA-949BF0879F87}" type="presParOf" srcId="{B25C568E-12C2-4B81-9168-93B062D88E30}" destId="{27C073ED-823D-4260-8E13-ED315C845665}" srcOrd="0" destOrd="0" presId="urn:microsoft.com/office/officeart/2005/8/layout/lProcess2"/>
    <dgm:cxn modelId="{6D0B608A-14E3-40AD-BDEE-8BC2339775AC}" type="presParOf" srcId="{B25C568E-12C2-4B81-9168-93B062D88E30}" destId="{5FD54C87-630E-480D-828F-E9B4AF073E2D}" srcOrd="1" destOrd="0" presId="urn:microsoft.com/office/officeart/2005/8/layout/lProcess2"/>
    <dgm:cxn modelId="{C9A6A1ED-26F5-4387-9C39-B009ECC452E5}" type="presParOf" srcId="{B25C568E-12C2-4B81-9168-93B062D88E30}" destId="{9CD00062-DB99-486E-9E51-25A854F705FA}" srcOrd="2" destOrd="0" presId="urn:microsoft.com/office/officeart/2005/8/layout/lProcess2"/>
    <dgm:cxn modelId="{02F8D92B-6AF3-465A-AFF8-1C0A473F4103}" type="presParOf" srcId="{B25C568E-12C2-4B81-9168-93B062D88E30}" destId="{D6B864E3-2100-4054-BE01-23DF7DE9A241}" srcOrd="3" destOrd="0" presId="urn:microsoft.com/office/officeart/2005/8/layout/lProcess2"/>
    <dgm:cxn modelId="{83F53EFA-B610-488E-8303-2A4176A7802B}" type="presParOf" srcId="{B25C568E-12C2-4B81-9168-93B062D88E30}" destId="{3C6A0F72-EB08-4911-B049-2E6741993C06}" srcOrd="4" destOrd="0" presId="urn:microsoft.com/office/officeart/2005/8/layout/lProcess2"/>
    <dgm:cxn modelId="{F6966BC8-8C02-4698-A10E-68B97F9FB184}" type="presParOf" srcId="{B25C568E-12C2-4B81-9168-93B062D88E30}" destId="{5FC74E5E-3B46-4BB0-B54B-753CD7E83099}" srcOrd="5" destOrd="0" presId="urn:microsoft.com/office/officeart/2005/8/layout/lProcess2"/>
    <dgm:cxn modelId="{C813743F-1FA1-41EA-B063-3624D5E88301}" type="presParOf" srcId="{B25C568E-12C2-4B81-9168-93B062D88E30}" destId="{5D0333E0-B0A4-4573-802F-37E654313505}" srcOrd="6"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DD36F2-2F9A-4412-AED0-AF89B16DD0A9}">
      <dsp:nvSpPr>
        <dsp:cNvPr id="0" name=""/>
        <dsp:cNvSpPr/>
      </dsp:nvSpPr>
      <dsp:spPr>
        <a:xfrm>
          <a:off x="0" y="4533003"/>
          <a:ext cx="11677650" cy="496044"/>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Model Deployment(Saved the model to a folder  in D drive )</a:t>
          </a:r>
          <a:endParaRPr lang="en-US" sz="1400" kern="1200" dirty="0"/>
        </a:p>
      </dsp:txBody>
      <dsp:txXfrm>
        <a:off x="0" y="4533003"/>
        <a:ext cx="11677650" cy="496044"/>
      </dsp:txXfrm>
    </dsp:sp>
    <dsp:sp modelId="{9DC6FDE3-BC34-4A9B-9C74-288692BA3EF7}">
      <dsp:nvSpPr>
        <dsp:cNvPr id="0" name=""/>
        <dsp:cNvSpPr/>
      </dsp:nvSpPr>
      <dsp:spPr>
        <a:xfrm rot="10800000">
          <a:off x="0" y="3777528"/>
          <a:ext cx="11677650" cy="762915"/>
        </a:xfrm>
        <a:prstGeom prst="upArrowCallout">
          <a:avLst/>
        </a:prstGeom>
        <a:solidFill>
          <a:schemeClr val="accent3">
            <a:hueOff val="-3038963"/>
            <a:satOff val="2346"/>
            <a:lumOff val="-140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Model Accuracy &amp; Optimization (Fetch metrics like Avg. Topic Coherence for trained model.)</a:t>
          </a:r>
          <a:endParaRPr lang="en-US" sz="1400" kern="1200" dirty="0"/>
        </a:p>
      </dsp:txBody>
      <dsp:txXfrm rot="10800000">
        <a:off x="0" y="3777528"/>
        <a:ext cx="11677650" cy="495719"/>
      </dsp:txXfrm>
    </dsp:sp>
    <dsp:sp modelId="{901B0806-77E2-4C4A-AE1D-AE4CB9AFE122}">
      <dsp:nvSpPr>
        <dsp:cNvPr id="0" name=""/>
        <dsp:cNvSpPr/>
      </dsp:nvSpPr>
      <dsp:spPr>
        <a:xfrm rot="10800000">
          <a:off x="0" y="3022053"/>
          <a:ext cx="11677650" cy="762915"/>
        </a:xfrm>
        <a:prstGeom prst="upArrowCallout">
          <a:avLst/>
        </a:prstGeom>
        <a:solidFill>
          <a:schemeClr val="accent3">
            <a:hueOff val="-6077926"/>
            <a:satOff val="4693"/>
            <a:lumOff val="-281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Model Building (Model Selection &amp; training)</a:t>
          </a:r>
          <a:endParaRPr lang="en-US" sz="1400" kern="1200" dirty="0"/>
        </a:p>
      </dsp:txBody>
      <dsp:txXfrm rot="10800000">
        <a:off x="0" y="3022053"/>
        <a:ext cx="11677650" cy="495719"/>
      </dsp:txXfrm>
    </dsp:sp>
    <dsp:sp modelId="{C596056F-50EC-4DFA-9279-E7FCB83B681B}">
      <dsp:nvSpPr>
        <dsp:cNvPr id="0" name=""/>
        <dsp:cNvSpPr/>
      </dsp:nvSpPr>
      <dsp:spPr>
        <a:xfrm rot="10800000">
          <a:off x="0" y="2266577"/>
          <a:ext cx="11677650" cy="762915"/>
        </a:xfrm>
        <a:prstGeom prst="upArrowCallout">
          <a:avLst/>
        </a:prstGeom>
        <a:solidFill>
          <a:schemeClr val="accent3">
            <a:hueOff val="-9116889"/>
            <a:satOff val="7039"/>
            <a:lumOff val="-421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Data Preprocessing(Tokenization, Removing Stop Words, Lemmatization, n-grams formation)</a:t>
          </a:r>
          <a:endParaRPr lang="en-US" sz="1400" kern="1200" dirty="0"/>
        </a:p>
      </dsp:txBody>
      <dsp:txXfrm rot="10800000">
        <a:off x="0" y="2266577"/>
        <a:ext cx="11677650" cy="495719"/>
      </dsp:txXfrm>
    </dsp:sp>
    <dsp:sp modelId="{ADD26F35-3053-4FB9-B0A4-8F4680D906E4}">
      <dsp:nvSpPr>
        <dsp:cNvPr id="0" name=""/>
        <dsp:cNvSpPr/>
      </dsp:nvSpPr>
      <dsp:spPr>
        <a:xfrm rot="10800000">
          <a:off x="0" y="1511102"/>
          <a:ext cx="11677650" cy="762915"/>
        </a:xfrm>
        <a:prstGeom prst="upArrowCallout">
          <a:avLst/>
        </a:prstGeom>
        <a:solidFill>
          <a:schemeClr val="accent3">
            <a:hueOff val="-12155852"/>
            <a:satOff val="9385"/>
            <a:lumOff val="-561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Sampling</a:t>
          </a:r>
          <a:endParaRPr lang="en-US" sz="1400" kern="1200" dirty="0"/>
        </a:p>
        <a:p>
          <a:pPr marL="0" lvl="0" indent="0" algn="ctr" defTabSz="622300">
            <a:lnSpc>
              <a:spcPct val="90000"/>
            </a:lnSpc>
            <a:spcBef>
              <a:spcPct val="0"/>
            </a:spcBef>
            <a:spcAft>
              <a:spcPct val="35000"/>
            </a:spcAft>
            <a:buNone/>
          </a:pPr>
          <a:r>
            <a:rPr lang="en-US" sz="1400" b="1" kern="1200" dirty="0"/>
            <a:t>(Our Sample should contain good mix of titles and descriptions</a:t>
          </a:r>
          <a:endParaRPr lang="en-US" sz="1400" kern="1200" dirty="0"/>
        </a:p>
      </dsp:txBody>
      <dsp:txXfrm rot="10800000">
        <a:off x="0" y="1511102"/>
        <a:ext cx="11677650" cy="495719"/>
      </dsp:txXfrm>
    </dsp:sp>
    <dsp:sp modelId="{5884B8F6-E456-447E-BB38-094E2BDC1D61}">
      <dsp:nvSpPr>
        <dsp:cNvPr id="0" name=""/>
        <dsp:cNvSpPr/>
      </dsp:nvSpPr>
      <dsp:spPr>
        <a:xfrm rot="10800000">
          <a:off x="0" y="755627"/>
          <a:ext cx="11677650" cy="762915"/>
        </a:xfrm>
        <a:prstGeom prst="upArrowCallout">
          <a:avLst/>
        </a:prstGeom>
        <a:solidFill>
          <a:schemeClr val="accent3">
            <a:hueOff val="-15194815"/>
            <a:satOff val="11732"/>
            <a:lumOff val="-702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Data Collection</a:t>
          </a:r>
          <a:endParaRPr lang="en-US" sz="1400" kern="1200" dirty="0"/>
        </a:p>
        <a:p>
          <a:pPr marL="0" lvl="0" indent="0" algn="ctr" defTabSz="622300">
            <a:lnSpc>
              <a:spcPct val="90000"/>
            </a:lnSpc>
            <a:spcBef>
              <a:spcPct val="0"/>
            </a:spcBef>
            <a:spcAft>
              <a:spcPct val="35000"/>
            </a:spcAft>
            <a:buNone/>
          </a:pPr>
          <a:r>
            <a:rPr lang="en-US" sz="1400" b="1" kern="1200" dirty="0"/>
            <a:t>(Referred course_metadata.csv from </a:t>
          </a:r>
          <a:r>
            <a:rPr lang="en-US" sz="1400" b="1" kern="1200" dirty="0">
              <a:hlinkClick xmlns:r="http://schemas.openxmlformats.org/officeDocument/2006/relationships" r:id="rId1"/>
            </a:rPr>
            <a:t>here</a:t>
          </a:r>
          <a:r>
            <a:rPr lang="en-US" sz="1400" b="1" kern="1200" dirty="0"/>
            <a:t>)</a:t>
          </a:r>
          <a:endParaRPr lang="en-US" sz="1400" kern="1200" dirty="0"/>
        </a:p>
      </dsp:txBody>
      <dsp:txXfrm rot="10800000">
        <a:off x="0" y="755627"/>
        <a:ext cx="11677650" cy="495719"/>
      </dsp:txXfrm>
    </dsp:sp>
    <dsp:sp modelId="{FEE70F42-FEC1-497D-B51B-6A5A4D8BDFFD}">
      <dsp:nvSpPr>
        <dsp:cNvPr id="0" name=""/>
        <dsp:cNvSpPr/>
      </dsp:nvSpPr>
      <dsp:spPr>
        <a:xfrm rot="10800000">
          <a:off x="0" y="152"/>
          <a:ext cx="11677650" cy="762915"/>
        </a:xfrm>
        <a:prstGeom prst="upArrowCallout">
          <a:avLst/>
        </a:prstGeom>
        <a:solidFill>
          <a:schemeClr val="accent3">
            <a:hueOff val="-18233778"/>
            <a:satOff val="14078"/>
            <a:lumOff val="-842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Initial Analysis &amp; Variable/ Parameter Identification</a:t>
          </a:r>
          <a:endParaRPr lang="en-US" sz="1400" kern="1200" dirty="0"/>
        </a:p>
      </dsp:txBody>
      <dsp:txXfrm rot="10800000">
        <a:off x="0" y="152"/>
        <a:ext cx="11677650" cy="49571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C8361A-7258-46CC-8232-E3035411DC74}">
      <dsp:nvSpPr>
        <dsp:cNvPr id="0" name=""/>
        <dsp:cNvSpPr/>
      </dsp:nvSpPr>
      <dsp:spPr>
        <a:xfrm>
          <a:off x="1413" y="0"/>
          <a:ext cx="3675046" cy="50291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Execute “data_cleaning.py”</a:t>
          </a:r>
        </a:p>
      </dsp:txBody>
      <dsp:txXfrm>
        <a:off x="1413" y="0"/>
        <a:ext cx="3675046" cy="1508760"/>
      </dsp:txXfrm>
    </dsp:sp>
    <dsp:sp modelId="{D9AFC8F8-739B-49ED-B341-F551BC05C50E}">
      <dsp:nvSpPr>
        <dsp:cNvPr id="0" name=""/>
        <dsp:cNvSpPr/>
      </dsp:nvSpPr>
      <dsp:spPr>
        <a:xfrm>
          <a:off x="368918" y="1508882"/>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Remove duplicates</a:t>
          </a:r>
        </a:p>
      </dsp:txBody>
      <dsp:txXfrm>
        <a:off x="390376" y="1530340"/>
        <a:ext cx="2897121" cy="689731"/>
      </dsp:txXfrm>
    </dsp:sp>
    <dsp:sp modelId="{3989E49F-24B9-4933-B2AE-B14026AA72CF}">
      <dsp:nvSpPr>
        <dsp:cNvPr id="0" name=""/>
        <dsp:cNvSpPr/>
      </dsp:nvSpPr>
      <dsp:spPr>
        <a:xfrm>
          <a:off x="368918" y="2354245"/>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Replace Special characters with spaces</a:t>
          </a:r>
        </a:p>
      </dsp:txBody>
      <dsp:txXfrm>
        <a:off x="390376" y="2375703"/>
        <a:ext cx="2897121" cy="689731"/>
      </dsp:txXfrm>
    </dsp:sp>
    <dsp:sp modelId="{2370C1C3-9E9E-463D-83F4-D788ED438B0F}">
      <dsp:nvSpPr>
        <dsp:cNvPr id="0" name=""/>
        <dsp:cNvSpPr/>
      </dsp:nvSpPr>
      <dsp:spPr>
        <a:xfrm>
          <a:off x="368918" y="3199607"/>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Fill empty rows</a:t>
          </a:r>
        </a:p>
      </dsp:txBody>
      <dsp:txXfrm>
        <a:off x="390376" y="3221065"/>
        <a:ext cx="2897121" cy="689731"/>
      </dsp:txXfrm>
    </dsp:sp>
    <dsp:sp modelId="{89BA899A-F22E-4F2A-A049-A4ACB6972765}">
      <dsp:nvSpPr>
        <dsp:cNvPr id="0" name=""/>
        <dsp:cNvSpPr/>
      </dsp:nvSpPr>
      <dsp:spPr>
        <a:xfrm>
          <a:off x="368918" y="4044969"/>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Translate all records to English in batches</a:t>
          </a:r>
        </a:p>
      </dsp:txBody>
      <dsp:txXfrm>
        <a:off x="390376" y="4066427"/>
        <a:ext cx="2897121" cy="689731"/>
      </dsp:txXfrm>
    </dsp:sp>
    <dsp:sp modelId="{3B9FA873-519D-4BA0-A67C-C5D8DE4D3A1C}">
      <dsp:nvSpPr>
        <dsp:cNvPr id="0" name=""/>
        <dsp:cNvSpPr/>
      </dsp:nvSpPr>
      <dsp:spPr>
        <a:xfrm>
          <a:off x="3952089" y="0"/>
          <a:ext cx="3675046" cy="50291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Execute “Merge intermediate translated file.py”</a:t>
          </a:r>
        </a:p>
      </dsp:txBody>
      <dsp:txXfrm>
        <a:off x="3952089" y="0"/>
        <a:ext cx="3675046" cy="1508760"/>
      </dsp:txXfrm>
    </dsp:sp>
    <dsp:sp modelId="{90FDB9B7-9F02-4136-9B94-829C16AC1BBE}">
      <dsp:nvSpPr>
        <dsp:cNvPr id="0" name=""/>
        <dsp:cNvSpPr/>
      </dsp:nvSpPr>
      <dsp:spPr>
        <a:xfrm>
          <a:off x="4319593" y="1510233"/>
          <a:ext cx="2940037" cy="151637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Read all files from ‘intermediate’ folder</a:t>
          </a:r>
        </a:p>
      </dsp:txBody>
      <dsp:txXfrm>
        <a:off x="4364006" y="1554646"/>
        <a:ext cx="2851211" cy="1427546"/>
      </dsp:txXfrm>
    </dsp:sp>
    <dsp:sp modelId="{2F37D500-6AC5-45AB-BFF8-8DA41B50A8A9}">
      <dsp:nvSpPr>
        <dsp:cNvPr id="0" name=""/>
        <dsp:cNvSpPr/>
      </dsp:nvSpPr>
      <dsp:spPr>
        <a:xfrm>
          <a:off x="4319593" y="3259894"/>
          <a:ext cx="2940037" cy="151637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Merge all files to one</a:t>
          </a:r>
        </a:p>
      </dsp:txBody>
      <dsp:txXfrm>
        <a:off x="4364006" y="3304307"/>
        <a:ext cx="2851211" cy="1427546"/>
      </dsp:txXfrm>
    </dsp:sp>
    <dsp:sp modelId="{91303E37-8BC7-4230-B91D-29C6F27F27D7}">
      <dsp:nvSpPr>
        <dsp:cNvPr id="0" name=""/>
        <dsp:cNvSpPr/>
      </dsp:nvSpPr>
      <dsp:spPr>
        <a:xfrm>
          <a:off x="7902764" y="0"/>
          <a:ext cx="3675046" cy="50291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Execute “Recommendation_Engine_Model.py”</a:t>
          </a:r>
        </a:p>
      </dsp:txBody>
      <dsp:txXfrm>
        <a:off x="7902764" y="0"/>
        <a:ext cx="3675046" cy="1508760"/>
      </dsp:txXfrm>
    </dsp:sp>
    <dsp:sp modelId="{27C073ED-823D-4260-8E13-ED315C845665}">
      <dsp:nvSpPr>
        <dsp:cNvPr id="0" name=""/>
        <dsp:cNvSpPr/>
      </dsp:nvSpPr>
      <dsp:spPr>
        <a:xfrm>
          <a:off x="8270269" y="1508882"/>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Read the merged file</a:t>
          </a:r>
        </a:p>
      </dsp:txBody>
      <dsp:txXfrm>
        <a:off x="8291727" y="1530340"/>
        <a:ext cx="2897121" cy="689731"/>
      </dsp:txXfrm>
    </dsp:sp>
    <dsp:sp modelId="{9CD00062-DB99-486E-9E51-25A854F705FA}">
      <dsp:nvSpPr>
        <dsp:cNvPr id="0" name=""/>
        <dsp:cNvSpPr/>
      </dsp:nvSpPr>
      <dsp:spPr>
        <a:xfrm>
          <a:off x="8270269" y="2354245"/>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Lower Casing All Descriptions, Tokenizing,    Removing tokens with length &lt; 2 and removing stop words.</a:t>
          </a:r>
        </a:p>
        <a:p>
          <a:pPr marL="0" lvl="0" indent="0" algn="ctr" defTabSz="444500">
            <a:lnSpc>
              <a:spcPct val="90000"/>
            </a:lnSpc>
            <a:spcBef>
              <a:spcPct val="0"/>
            </a:spcBef>
            <a:spcAft>
              <a:spcPct val="35000"/>
            </a:spcAft>
            <a:buNone/>
          </a:pPr>
          <a:r>
            <a:rPr lang="en-US" sz="1000" kern="1200" dirty="0"/>
            <a:t>Lemmatizing the tokens</a:t>
          </a:r>
        </a:p>
      </dsp:txBody>
      <dsp:txXfrm>
        <a:off x="8291727" y="2375703"/>
        <a:ext cx="2897121" cy="689731"/>
      </dsp:txXfrm>
    </dsp:sp>
    <dsp:sp modelId="{3C6A0F72-EB08-4911-B049-2E6741993C06}">
      <dsp:nvSpPr>
        <dsp:cNvPr id="0" name=""/>
        <dsp:cNvSpPr/>
      </dsp:nvSpPr>
      <dsp:spPr>
        <a:xfrm>
          <a:off x="8270269" y="3199607"/>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Create N-grams &amp; visuals</a:t>
          </a:r>
        </a:p>
      </dsp:txBody>
      <dsp:txXfrm>
        <a:off x="8291727" y="3221065"/>
        <a:ext cx="2897121" cy="689731"/>
      </dsp:txXfrm>
    </dsp:sp>
    <dsp:sp modelId="{5D0333E0-B0A4-4573-802F-37E654313505}">
      <dsp:nvSpPr>
        <dsp:cNvPr id="0" name=""/>
        <dsp:cNvSpPr/>
      </dsp:nvSpPr>
      <dsp:spPr>
        <a:xfrm>
          <a:off x="8270269" y="4044969"/>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Train and test model</a:t>
          </a:r>
        </a:p>
      </dsp:txBody>
      <dsp:txXfrm>
        <a:off x="8291727" y="4066427"/>
        <a:ext cx="2897121" cy="689731"/>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D2EE567-80D6-42C6-844A-F0F6714FC972}" type="datetimeFigureOut">
              <a:rPr lang="en-US" smtClean="0"/>
              <a:pPr/>
              <a:t>12/4/202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33C794B-268C-4A67-8C2B-68C4E4A2A782}" type="slidenum">
              <a:rPr lang="en-US" smtClean="0"/>
              <a:pPr/>
              <a:t>‹#›</a:t>
            </a:fld>
            <a:endParaRPr lang="en-US"/>
          </a:p>
        </p:txBody>
      </p:sp>
    </p:spTree>
    <p:extLst>
      <p:ext uri="{BB962C8B-B14F-4D97-AF65-F5344CB8AC3E}">
        <p14:creationId xmlns:p14="http://schemas.microsoft.com/office/powerpoint/2010/main" val="15120990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2A3B128-E09D-491C-B840-DB8C264A8EFA}" type="datetimeFigureOut">
              <a:rPr lang="en-US" smtClean="0"/>
              <a:pPr/>
              <a:t>12/4/2022</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EF2277D-4E65-471B-8FDC-312617F5EA89}" type="slidenum">
              <a:rPr lang="en-US" smtClean="0"/>
              <a:pPr/>
              <a:t>‹#›</a:t>
            </a:fld>
            <a:endParaRPr lang="en-US"/>
          </a:p>
        </p:txBody>
      </p:sp>
    </p:spTree>
    <p:extLst>
      <p:ext uri="{BB962C8B-B14F-4D97-AF65-F5344CB8AC3E}">
        <p14:creationId xmlns:p14="http://schemas.microsoft.com/office/powerpoint/2010/main" val="11822364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1</a:t>
            </a:fld>
            <a:endParaRPr lang="en-US" dirty="0"/>
          </a:p>
        </p:txBody>
      </p:sp>
    </p:spTree>
    <p:extLst>
      <p:ext uri="{BB962C8B-B14F-4D97-AF65-F5344CB8AC3E}">
        <p14:creationId xmlns:p14="http://schemas.microsoft.com/office/powerpoint/2010/main" val="2520882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2</a:t>
            </a:fld>
            <a:endParaRPr lang="en-US" dirty="0"/>
          </a:p>
        </p:txBody>
      </p:sp>
    </p:spTree>
    <p:extLst>
      <p:ext uri="{BB962C8B-B14F-4D97-AF65-F5344CB8AC3E}">
        <p14:creationId xmlns:p14="http://schemas.microsoft.com/office/powerpoint/2010/main" val="18141510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Note:-</a:t>
            </a:r>
          </a:p>
        </p:txBody>
      </p:sp>
      <p:sp>
        <p:nvSpPr>
          <p:cNvPr id="4" name="Slide Number Placeholder 3"/>
          <p:cNvSpPr>
            <a:spLocks noGrp="1"/>
          </p:cNvSpPr>
          <p:nvPr>
            <p:ph type="sldNum" sz="quarter" idx="5"/>
          </p:nvPr>
        </p:nvSpPr>
        <p:spPr/>
        <p:txBody>
          <a:bodyPr/>
          <a:lstStyle/>
          <a:p>
            <a:fld id="{3EF2277D-4E65-471B-8FDC-312617F5EA89}" type="slidenum">
              <a:rPr lang="en-US" smtClean="0"/>
              <a:pPr/>
              <a:t>3</a:t>
            </a:fld>
            <a:endParaRPr lang="en-US" dirty="0"/>
          </a:p>
        </p:txBody>
      </p:sp>
    </p:spTree>
    <p:extLst>
      <p:ext uri="{BB962C8B-B14F-4D97-AF65-F5344CB8AC3E}">
        <p14:creationId xmlns:p14="http://schemas.microsoft.com/office/powerpoint/2010/main" val="32310100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5</a:t>
            </a:fld>
            <a:endParaRPr lang="en-US"/>
          </a:p>
        </p:txBody>
      </p:sp>
    </p:spTree>
    <p:extLst>
      <p:ext uri="{BB962C8B-B14F-4D97-AF65-F5344CB8AC3E}">
        <p14:creationId xmlns:p14="http://schemas.microsoft.com/office/powerpoint/2010/main" val="28790361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6</a:t>
            </a:fld>
            <a:endParaRPr lang="en-US"/>
          </a:p>
        </p:txBody>
      </p:sp>
    </p:spTree>
    <p:extLst>
      <p:ext uri="{BB962C8B-B14F-4D97-AF65-F5344CB8AC3E}">
        <p14:creationId xmlns:p14="http://schemas.microsoft.com/office/powerpoint/2010/main" val="23312977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7</a:t>
            </a:fld>
            <a:endParaRPr lang="en-US"/>
          </a:p>
        </p:txBody>
      </p:sp>
    </p:spTree>
    <p:extLst>
      <p:ext uri="{BB962C8B-B14F-4D97-AF65-F5344CB8AC3E}">
        <p14:creationId xmlns:p14="http://schemas.microsoft.com/office/powerpoint/2010/main" val="39533082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8</a:t>
            </a:fld>
            <a:endParaRPr lang="en-US"/>
          </a:p>
        </p:txBody>
      </p:sp>
    </p:spTree>
    <p:extLst>
      <p:ext uri="{BB962C8B-B14F-4D97-AF65-F5344CB8AC3E}">
        <p14:creationId xmlns:p14="http://schemas.microsoft.com/office/powerpoint/2010/main" val="16555637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9</a:t>
            </a:fld>
            <a:endParaRPr lang="en-US"/>
          </a:p>
        </p:txBody>
      </p:sp>
    </p:spTree>
    <p:extLst>
      <p:ext uri="{BB962C8B-B14F-4D97-AF65-F5344CB8AC3E}">
        <p14:creationId xmlns:p14="http://schemas.microsoft.com/office/powerpoint/2010/main" val="26916003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10</a:t>
            </a:fld>
            <a:endParaRPr lang="en-US" dirty="0"/>
          </a:p>
        </p:txBody>
      </p:sp>
    </p:spTree>
    <p:extLst>
      <p:ext uri="{BB962C8B-B14F-4D97-AF65-F5344CB8AC3E}">
        <p14:creationId xmlns:p14="http://schemas.microsoft.com/office/powerpoint/2010/main" val="38475040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pic>
        <p:nvPicPr>
          <p:cNvPr id="4" name="Picture 3" descr="Shape&#10;&#10;Description automatically generated">
            <a:extLst>
              <a:ext uri="{FF2B5EF4-FFF2-40B4-BE49-F238E27FC236}">
                <a16:creationId xmlns:a16="http://schemas.microsoft.com/office/drawing/2014/main" id="{33B76D3C-739A-4E89-910F-4DF747FC0FF6}"/>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2203704" y="2798064"/>
            <a:ext cx="5916168" cy="1216152"/>
          </a:xfrm>
        </p:spPr>
        <p:txBody>
          <a:bodyPr wrap="square" lIns="0" tIns="0" rIns="0" bIns="0" anchor="t">
            <a:noAutofit/>
          </a:bodyPr>
          <a:lstStyle>
            <a:lvl1pPr>
              <a:defRPr sz="3600">
                <a:solidFill>
                  <a:schemeClr val="bg1"/>
                </a:solidFill>
                <a:latin typeface="+mj-lt"/>
              </a:defRPr>
            </a:lvl1pPr>
          </a:lstStyle>
          <a:p>
            <a:r>
              <a:rPr lang="en-US" dirty="0"/>
              <a:t>Click to edit Master title style</a:t>
            </a:r>
          </a:p>
        </p:txBody>
      </p:sp>
      <p:sp>
        <p:nvSpPr>
          <p:cNvPr id="13" name="Subtitle 2"/>
          <p:cNvSpPr>
            <a:spLocks noGrp="1"/>
          </p:cNvSpPr>
          <p:nvPr>
            <p:ph type="subTitle" idx="1"/>
          </p:nvPr>
        </p:nvSpPr>
        <p:spPr>
          <a:xfrm>
            <a:off x="2203704" y="4123943"/>
            <a:ext cx="5907024" cy="1078992"/>
          </a:xfrm>
        </p:spPr>
        <p:txBody>
          <a:bodyPr wrap="square" lIns="0" tIns="0" rIns="0" bIns="0">
            <a:noAutofit/>
          </a:bodyPr>
          <a:lstStyle>
            <a:lvl1pPr marL="0" indent="0" algn="l">
              <a:buNone/>
              <a:defRPr sz="2000">
                <a:solidFill>
                  <a:schemeClr val="bg1"/>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dirty="0"/>
              <a:t>Click to edit Master subtitle style</a:t>
            </a:r>
          </a:p>
        </p:txBody>
      </p:sp>
      <p:pic>
        <p:nvPicPr>
          <p:cNvPr id="10" name="Picture 9" descr="Logo&#10;&#10;Description automatically generated">
            <a:extLst>
              <a:ext uri="{FF2B5EF4-FFF2-40B4-BE49-F238E27FC236}">
                <a16:creationId xmlns:a16="http://schemas.microsoft.com/office/drawing/2014/main" id="{4C418BDD-50A7-49EE-BE38-1E2FA9491BA8}"/>
              </a:ext>
            </a:extLst>
          </p:cNvPr>
          <p:cNvPicPr>
            <a:picLocks noChangeAspect="1"/>
          </p:cNvPicPr>
          <p:nvPr userDrawn="1"/>
        </p:nvPicPr>
        <p:blipFill>
          <a:blip r:embed="rId3"/>
          <a:stretch>
            <a:fillRect/>
          </a:stretch>
        </p:blipFill>
        <p:spPr>
          <a:xfrm>
            <a:off x="872598" y="2900170"/>
            <a:ext cx="713387" cy="980588"/>
          </a:xfrm>
          <a:prstGeom prst="rect">
            <a:avLst/>
          </a:prstGeom>
        </p:spPr>
      </p:pic>
    </p:spTree>
    <p:extLst>
      <p:ext uri="{BB962C8B-B14F-4D97-AF65-F5344CB8AC3E}">
        <p14:creationId xmlns:p14="http://schemas.microsoft.com/office/powerpoint/2010/main" val="2537427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 Dark Airy">
    <p:spTree>
      <p:nvGrpSpPr>
        <p:cNvPr id="1" name=""/>
        <p:cNvGrpSpPr/>
        <p:nvPr/>
      </p:nvGrpSpPr>
      <p:grpSpPr>
        <a:xfrm>
          <a:off x="0" y="0"/>
          <a:ext cx="0" cy="0"/>
          <a:chOff x="0" y="0"/>
          <a:chExt cx="0" cy="0"/>
        </a:xfrm>
      </p:grpSpPr>
      <p:sp>
        <p:nvSpPr>
          <p:cNvPr id="9" name="Rectangle 5">
            <a:extLst>
              <a:ext uri="{FF2B5EF4-FFF2-40B4-BE49-F238E27FC236}">
                <a16:creationId xmlns:a16="http://schemas.microsoft.com/office/drawing/2014/main" id="{6C1404A5-D751-44E8-A1EF-86A7487035A6}"/>
              </a:ext>
            </a:extLst>
          </p:cNvPr>
          <p:cNvSpPr>
            <a:spLocks noChangeArrowheads="1"/>
          </p:cNvSpPr>
          <p:nvPr userDrawn="1"/>
        </p:nvSpPr>
        <p:spPr bwMode="auto">
          <a:xfrm>
            <a:off x="0" y="0"/>
            <a:ext cx="12188825" cy="6858000"/>
          </a:xfrm>
          <a:prstGeom prst="rect">
            <a:avLst/>
          </a:prstGeom>
          <a:solidFill>
            <a:srgbClr val="2C2C2C"/>
          </a:solidFill>
          <a:ln w="12700">
            <a:miter lim="400000"/>
          </a:ln>
        </p:spPr>
        <p:txBody>
          <a:bodyPr lIns="0" tIns="0" rIns="0" bIns="0" anchor="ctr"/>
          <a:lstStyle/>
          <a:p>
            <a:pPr lvl="0" algn="ctr" defTabSz="825500"/>
            <a:endParaRPr lang="en-US" sz="3600">
              <a:solidFill>
                <a:srgbClr val="FFFFFF"/>
              </a:solidFill>
              <a:latin typeface="+mj-lt"/>
              <a:ea typeface="+mj-ea"/>
              <a:cs typeface="+mj-cs"/>
              <a:sym typeface="Helvetica Light"/>
            </a:endParaRPr>
          </a:p>
        </p:txBody>
      </p:sp>
      <p:sp>
        <p:nvSpPr>
          <p:cNvPr id="10" name="Rectangle 9">
            <a:extLst>
              <a:ext uri="{FF2B5EF4-FFF2-40B4-BE49-F238E27FC236}">
                <a16:creationId xmlns:a16="http://schemas.microsoft.com/office/drawing/2014/main" id="{D5E36082-D3B5-402C-ABA5-5DEE95E7A59D}"/>
              </a:ext>
            </a:extLst>
          </p:cNvPr>
          <p:cNvSpPr/>
          <p:nvPr userDrawn="1"/>
        </p:nvSpPr>
        <p:spPr>
          <a:xfrm>
            <a:off x="0" y="6446520"/>
            <a:ext cx="12192000"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49E00DCC-89B9-4A09-ADE9-3A28FF8E4E14}"/>
              </a:ext>
            </a:extLst>
          </p:cNvPr>
          <p:cNvPicPr>
            <a:picLocks noChangeAspect="1"/>
          </p:cNvPicPr>
          <p:nvPr userDrawn="1"/>
        </p:nvPicPr>
        <p:blipFill>
          <a:blip r:embed="rId2"/>
          <a:stretch>
            <a:fillRect/>
          </a:stretch>
        </p:blipFill>
        <p:spPr>
          <a:xfrm>
            <a:off x="401915" y="6578695"/>
            <a:ext cx="566079" cy="147131"/>
          </a:xfrm>
          <a:prstGeom prst="rect">
            <a:avLst/>
          </a:prstGeom>
        </p:spPr>
      </p:pic>
      <p:sp>
        <p:nvSpPr>
          <p:cNvPr id="12" name="Date Placeholder 3">
            <a:extLst>
              <a:ext uri="{FF2B5EF4-FFF2-40B4-BE49-F238E27FC236}">
                <a16:creationId xmlns:a16="http://schemas.microsoft.com/office/drawing/2014/main" id="{A88392BB-501D-4401-A873-9E3019BEC865}"/>
              </a:ext>
            </a:extLst>
          </p:cNvPr>
          <p:cNvSpPr txBox="1">
            <a:spLocks/>
          </p:cNvSpPr>
          <p:nvPr userDrawn="1"/>
        </p:nvSpPr>
        <p:spPr>
          <a:xfrm>
            <a:off x="9302847"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dirty="0">
                <a:solidFill>
                  <a:srgbClr val="6E6E6E"/>
                </a:solidFill>
                <a:latin typeface="Adobe Clean" panose="020B0503020404020204" pitchFamily="34" charset="0"/>
              </a:rPr>
              <a:t>© 2021 Adobe. All Rights Reserved. Adobe Confidential.</a:t>
            </a:r>
          </a:p>
        </p:txBody>
      </p:sp>
      <p:sp>
        <p:nvSpPr>
          <p:cNvPr id="2" name="Title 1"/>
          <p:cNvSpPr>
            <a:spLocks noGrp="1"/>
          </p:cNvSpPr>
          <p:nvPr>
            <p:ph type="title"/>
          </p:nvPr>
        </p:nvSpPr>
        <p:spPr/>
        <p:txBody>
          <a:bodyPr lIns="45720" tIns="45720" rIns="45720" bIns="45720"/>
          <a:lstStyle>
            <a:lvl1pPr>
              <a:defRPr>
                <a:solidFill>
                  <a:schemeClr val="bg1"/>
                </a:solidFill>
                <a:latin typeface="+mj-lt"/>
              </a:defRPr>
            </a:lvl1pPr>
          </a:lstStyle>
          <a:p>
            <a:r>
              <a:rPr lang="en-US" dirty="0"/>
              <a:t>Click to edit Master title style</a:t>
            </a:r>
          </a:p>
        </p:txBody>
      </p:sp>
      <p:sp>
        <p:nvSpPr>
          <p:cNvPr id="3" name="Content Placeholder 2"/>
          <p:cNvSpPr>
            <a:spLocks noGrp="1"/>
          </p:cNvSpPr>
          <p:nvPr>
            <p:ph idx="1"/>
          </p:nvPr>
        </p:nvSpPr>
        <p:spPr>
          <a:xfrm>
            <a:off x="301752" y="1435608"/>
            <a:ext cx="11585448" cy="4590288"/>
          </a:xfrm>
        </p:spPr>
        <p:txBody>
          <a:bodyPr/>
          <a:lstStyle>
            <a:lvl1pPr>
              <a:spcBef>
                <a:spcPts val="1800"/>
              </a:spcBef>
              <a:buClr>
                <a:schemeClr val="bg1"/>
              </a:buClr>
              <a:defRPr>
                <a:solidFill>
                  <a:schemeClr val="bg1"/>
                </a:solidFill>
                <a:latin typeface="+mn-lt"/>
              </a:defRPr>
            </a:lvl1pPr>
            <a:lvl2pPr>
              <a:spcBef>
                <a:spcPts val="1800"/>
              </a:spcBef>
              <a:buClr>
                <a:schemeClr val="bg1"/>
              </a:buClr>
              <a:defRPr>
                <a:solidFill>
                  <a:schemeClr val="bg1"/>
                </a:solidFill>
                <a:latin typeface="+mn-lt"/>
              </a:defRPr>
            </a:lvl2pPr>
            <a:lvl3pPr>
              <a:spcBef>
                <a:spcPts val="1800"/>
              </a:spcBef>
              <a:buClr>
                <a:schemeClr val="bg1"/>
              </a:buClr>
              <a:defRPr>
                <a:solidFill>
                  <a:schemeClr val="bg1"/>
                </a:solidFill>
                <a:latin typeface="+mn-lt"/>
              </a:defRPr>
            </a:lvl3pPr>
            <a:lvl4pPr>
              <a:spcBef>
                <a:spcPts val="1800"/>
              </a:spcBef>
              <a:buClr>
                <a:schemeClr val="bg1"/>
              </a:buClr>
              <a:defRPr>
                <a:solidFill>
                  <a:schemeClr val="bg1"/>
                </a:solidFill>
                <a:latin typeface="+mn-lt"/>
              </a:defRPr>
            </a:lvl4pPr>
            <a:lvl5pPr>
              <a:spcBef>
                <a:spcPts val="1800"/>
              </a:spcBef>
              <a:buClr>
                <a:schemeClr val="bg1"/>
              </a:buClr>
              <a:defRPr>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160890" y="6565990"/>
            <a:ext cx="4324081" cy="181185"/>
          </a:xfrm>
        </p:spPr>
        <p:txBody>
          <a:bodyPr/>
          <a:lstStyle/>
          <a:p>
            <a:endParaRPr lang="en-US" dirty="0"/>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dirty="0"/>
          </a:p>
        </p:txBody>
      </p:sp>
    </p:spTree>
    <p:extLst>
      <p:ext uri="{BB962C8B-B14F-4D97-AF65-F5344CB8AC3E}">
        <p14:creationId xmlns:p14="http://schemas.microsoft.com/office/powerpoint/2010/main" val="20405947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ay end slide">
    <p:spTree>
      <p:nvGrpSpPr>
        <p:cNvPr id="1" name=""/>
        <p:cNvGrpSpPr/>
        <p:nvPr/>
      </p:nvGrpSpPr>
      <p:grpSpPr>
        <a:xfrm>
          <a:off x="0" y="0"/>
          <a:ext cx="0" cy="0"/>
          <a:chOff x="0" y="0"/>
          <a:chExt cx="0" cy="0"/>
        </a:xfrm>
      </p:grpSpPr>
      <p:pic>
        <p:nvPicPr>
          <p:cNvPr id="3" name="Picture 2" descr="Shape&#10;&#10;Description automatically generated">
            <a:extLst>
              <a:ext uri="{FF2B5EF4-FFF2-40B4-BE49-F238E27FC236}">
                <a16:creationId xmlns:a16="http://schemas.microsoft.com/office/drawing/2014/main" id="{768E917F-4C4F-4D78-BB75-6B03BEB2D2D5}"/>
              </a:ext>
            </a:extLst>
          </p:cNvPr>
          <p:cNvPicPr>
            <a:picLocks noChangeAspect="1"/>
          </p:cNvPicPr>
          <p:nvPr userDrawn="1"/>
        </p:nvPicPr>
        <p:blipFill>
          <a:blip r:embed="rId2"/>
          <a:stretch>
            <a:fillRect/>
          </a:stretch>
        </p:blipFill>
        <p:spPr>
          <a:xfrm>
            <a:off x="0" y="893"/>
            <a:ext cx="12188825" cy="6856214"/>
          </a:xfrm>
          <a:prstGeom prst="rect">
            <a:avLst/>
          </a:prstGeom>
          <a:solidFill>
            <a:srgbClr val="EB1000"/>
          </a:solidFill>
        </p:spPr>
      </p:pic>
      <p:pic>
        <p:nvPicPr>
          <p:cNvPr id="8" name="Picture 7" descr="Logo&#10;&#10;Description automatically generated">
            <a:extLst>
              <a:ext uri="{FF2B5EF4-FFF2-40B4-BE49-F238E27FC236}">
                <a16:creationId xmlns:a16="http://schemas.microsoft.com/office/drawing/2014/main" id="{8480A603-EAD6-4EF0-83FC-9CEC50D99930}"/>
              </a:ext>
            </a:extLst>
          </p:cNvPr>
          <p:cNvPicPr>
            <a:picLocks noChangeAspect="1"/>
          </p:cNvPicPr>
          <p:nvPr userDrawn="1"/>
        </p:nvPicPr>
        <p:blipFill>
          <a:blip r:embed="rId3"/>
          <a:stretch>
            <a:fillRect/>
          </a:stretch>
        </p:blipFill>
        <p:spPr>
          <a:xfrm>
            <a:off x="5607700" y="2759988"/>
            <a:ext cx="973426" cy="1338024"/>
          </a:xfrm>
          <a:prstGeom prst="rect">
            <a:avLst/>
          </a:prstGeom>
        </p:spPr>
      </p:pic>
    </p:spTree>
    <p:extLst>
      <p:ext uri="{BB962C8B-B14F-4D97-AF65-F5344CB8AC3E}">
        <p14:creationId xmlns:p14="http://schemas.microsoft.com/office/powerpoint/2010/main" val="24243788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
    <p:spTree>
      <p:nvGrpSpPr>
        <p:cNvPr id="1" name=""/>
        <p:cNvGrpSpPr/>
        <p:nvPr/>
      </p:nvGrpSpPr>
      <p:grpSpPr>
        <a:xfrm>
          <a:off x="0" y="0"/>
          <a:ext cx="0" cy="0"/>
          <a:chOff x="0" y="0"/>
          <a:chExt cx="0" cy="0"/>
        </a:xfrm>
      </p:grpSpPr>
      <p:pic>
        <p:nvPicPr>
          <p:cNvPr id="4" name="Picture 3" descr="Shape&#10;&#10;Description automatically generated">
            <a:extLst>
              <a:ext uri="{FF2B5EF4-FFF2-40B4-BE49-F238E27FC236}">
                <a16:creationId xmlns:a16="http://schemas.microsoft.com/office/drawing/2014/main" id="{33B76D3C-739A-4E89-910F-4DF747FC0FF6}"/>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2203704" y="2798064"/>
            <a:ext cx="5916168" cy="1216152"/>
          </a:xfrm>
        </p:spPr>
        <p:txBody>
          <a:bodyPr wrap="square" lIns="0" tIns="0" rIns="0" bIns="0" anchor="t">
            <a:noAutofit/>
          </a:bodyPr>
          <a:lstStyle>
            <a:lvl1pPr>
              <a:defRPr sz="3600">
                <a:solidFill>
                  <a:schemeClr val="bg1"/>
                </a:solidFill>
                <a:latin typeface="+mj-lt"/>
              </a:defRPr>
            </a:lvl1pPr>
          </a:lstStyle>
          <a:p>
            <a:r>
              <a:rPr lang="en-US" dirty="0"/>
              <a:t>Click to edit Master title style</a:t>
            </a:r>
          </a:p>
        </p:txBody>
      </p:sp>
      <p:sp>
        <p:nvSpPr>
          <p:cNvPr id="13" name="Subtitle 2"/>
          <p:cNvSpPr>
            <a:spLocks noGrp="1"/>
          </p:cNvSpPr>
          <p:nvPr>
            <p:ph type="subTitle" idx="1"/>
          </p:nvPr>
        </p:nvSpPr>
        <p:spPr>
          <a:xfrm>
            <a:off x="2203704" y="4123943"/>
            <a:ext cx="5907024" cy="1078992"/>
          </a:xfrm>
        </p:spPr>
        <p:txBody>
          <a:bodyPr wrap="square" lIns="0" tIns="0" rIns="0" bIns="0">
            <a:noAutofit/>
          </a:bodyPr>
          <a:lstStyle>
            <a:lvl1pPr marL="0" indent="0" algn="l">
              <a:buNone/>
              <a:defRPr sz="2000">
                <a:solidFill>
                  <a:schemeClr val="bg1"/>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dirty="0"/>
              <a:t>Click to edit Master subtitle style</a:t>
            </a:r>
          </a:p>
        </p:txBody>
      </p:sp>
      <p:pic>
        <p:nvPicPr>
          <p:cNvPr id="10" name="Picture 9" descr="Logo&#10;&#10;Description automatically generated">
            <a:extLst>
              <a:ext uri="{FF2B5EF4-FFF2-40B4-BE49-F238E27FC236}">
                <a16:creationId xmlns:a16="http://schemas.microsoft.com/office/drawing/2014/main" id="{4C418BDD-50A7-49EE-BE38-1E2FA9491BA8}"/>
              </a:ext>
            </a:extLst>
          </p:cNvPr>
          <p:cNvPicPr>
            <a:picLocks noChangeAspect="1"/>
          </p:cNvPicPr>
          <p:nvPr userDrawn="1"/>
        </p:nvPicPr>
        <p:blipFill>
          <a:blip r:embed="rId3"/>
          <a:stretch>
            <a:fillRect/>
          </a:stretch>
        </p:blipFill>
        <p:spPr>
          <a:xfrm>
            <a:off x="872598" y="2900170"/>
            <a:ext cx="713387" cy="980588"/>
          </a:xfrm>
          <a:prstGeom prst="rect">
            <a:avLst/>
          </a:prstGeom>
        </p:spPr>
      </p:pic>
    </p:spTree>
    <p:extLst>
      <p:ext uri="{BB962C8B-B14F-4D97-AF65-F5344CB8AC3E}">
        <p14:creationId xmlns:p14="http://schemas.microsoft.com/office/powerpoint/2010/main" val="35840579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Section Divider">
    <p:spTree>
      <p:nvGrpSpPr>
        <p:cNvPr id="1" name=""/>
        <p:cNvGrpSpPr/>
        <p:nvPr/>
      </p:nvGrpSpPr>
      <p:grpSpPr>
        <a:xfrm>
          <a:off x="0" y="0"/>
          <a:ext cx="0" cy="0"/>
          <a:chOff x="0" y="0"/>
          <a:chExt cx="0" cy="0"/>
        </a:xfrm>
      </p:grpSpPr>
      <p:pic>
        <p:nvPicPr>
          <p:cNvPr id="3" name="Picture 2" descr="A picture containing light&#10;&#10;Description automatically generated">
            <a:extLst>
              <a:ext uri="{FF2B5EF4-FFF2-40B4-BE49-F238E27FC236}">
                <a16:creationId xmlns:a16="http://schemas.microsoft.com/office/drawing/2014/main" id="{6E4F79F1-D0B4-47D5-8949-FBE94111B975}"/>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rgbClr val="EB1000"/>
                </a:solidFill>
                <a:latin typeface="+mj-lt"/>
              </a:defRPr>
            </a:lvl1pPr>
          </a:lstStyle>
          <a:p>
            <a:r>
              <a:rPr lang="en-US" dirty="0"/>
              <a:t>Click to edit Master title style</a:t>
            </a:r>
          </a:p>
        </p:txBody>
      </p:sp>
    </p:spTree>
    <p:extLst>
      <p:ext uri="{BB962C8B-B14F-4D97-AF65-F5344CB8AC3E}">
        <p14:creationId xmlns:p14="http://schemas.microsoft.com/office/powerpoint/2010/main" val="4540648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Section Divider Alt">
    <p:spTree>
      <p:nvGrpSpPr>
        <p:cNvPr id="1" name=""/>
        <p:cNvGrpSpPr/>
        <p:nvPr/>
      </p:nvGrpSpPr>
      <p:grpSpPr>
        <a:xfrm>
          <a:off x="0" y="0"/>
          <a:ext cx="0" cy="0"/>
          <a:chOff x="0" y="0"/>
          <a:chExt cx="0" cy="0"/>
        </a:xfrm>
      </p:grpSpPr>
      <p:pic>
        <p:nvPicPr>
          <p:cNvPr id="10" name="Picture 9" descr="A picture containing light&#10;&#10;Description automatically generated">
            <a:extLst>
              <a:ext uri="{FF2B5EF4-FFF2-40B4-BE49-F238E27FC236}">
                <a16:creationId xmlns:a16="http://schemas.microsoft.com/office/drawing/2014/main" id="{3A27C8B7-98BC-4CD6-B3CF-51328C33399A}"/>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rgbClr val="EB1000"/>
                </a:solidFill>
                <a:latin typeface="+mj-lt"/>
              </a:defRPr>
            </a:lvl1pPr>
          </a:lstStyle>
          <a:p>
            <a:r>
              <a:rPr lang="en-US" dirty="0"/>
              <a:t>Click to edit Master title style</a:t>
            </a:r>
          </a:p>
        </p:txBody>
      </p:sp>
    </p:spTree>
    <p:extLst>
      <p:ext uri="{BB962C8B-B14F-4D97-AF65-F5344CB8AC3E}">
        <p14:creationId xmlns:p14="http://schemas.microsoft.com/office/powerpoint/2010/main" val="10133698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Section Divider Dark">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8F3AC819-F530-40C9-A766-72AA783EB3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chemeClr val="bg1"/>
                </a:solidFill>
                <a:latin typeface="+mj-lt"/>
              </a:defRPr>
            </a:lvl1pPr>
          </a:lstStyle>
          <a:p>
            <a:r>
              <a:rPr lang="en-US" dirty="0"/>
              <a:t>Click to edit Master title style</a:t>
            </a:r>
          </a:p>
        </p:txBody>
      </p:sp>
    </p:spTree>
    <p:extLst>
      <p:ext uri="{BB962C8B-B14F-4D97-AF65-F5344CB8AC3E}">
        <p14:creationId xmlns:p14="http://schemas.microsoft.com/office/powerpoint/2010/main" val="24187862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Agenda">
    <p:spTree>
      <p:nvGrpSpPr>
        <p:cNvPr id="1" name=""/>
        <p:cNvGrpSpPr/>
        <p:nvPr/>
      </p:nvGrpSpPr>
      <p:grpSpPr>
        <a:xfrm>
          <a:off x="0" y="0"/>
          <a:ext cx="0" cy="0"/>
          <a:chOff x="0" y="0"/>
          <a:chExt cx="0" cy="0"/>
        </a:xfrm>
      </p:grpSpPr>
      <p:pic>
        <p:nvPicPr>
          <p:cNvPr id="6" name="Picture 5" descr="A picture containing light&#10;&#10;Description automatically generated">
            <a:extLst>
              <a:ext uri="{FF2B5EF4-FFF2-40B4-BE49-F238E27FC236}">
                <a16:creationId xmlns:a16="http://schemas.microsoft.com/office/drawing/2014/main" id="{B9ADD37C-2727-4A40-9CE0-0724FC52E619}"/>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795528" y="914400"/>
            <a:ext cx="8010144" cy="585216"/>
          </a:xfrm>
        </p:spPr>
        <p:txBody>
          <a:bodyPr wrap="square" lIns="0" tIns="0" rIns="0" bIns="0" anchor="t" anchorCtr="0">
            <a:noAutofit/>
          </a:bodyPr>
          <a:lstStyle>
            <a:lvl1pPr>
              <a:defRPr sz="3600">
                <a:solidFill>
                  <a:srgbClr val="EB1000"/>
                </a:solidFill>
                <a:latin typeface="+mj-lt"/>
              </a:defRPr>
            </a:lvl1pPr>
          </a:lstStyle>
          <a:p>
            <a:r>
              <a:rPr lang="en-US" dirty="0"/>
              <a:t>Click to edit Master title style</a:t>
            </a:r>
          </a:p>
        </p:txBody>
      </p:sp>
      <p:sp>
        <p:nvSpPr>
          <p:cNvPr id="3" name="Table Placeholder 2">
            <a:extLst>
              <a:ext uri="{FF2B5EF4-FFF2-40B4-BE49-F238E27FC236}">
                <a16:creationId xmlns:a16="http://schemas.microsoft.com/office/drawing/2014/main" id="{59631ABC-0F20-4732-9A2E-F2D10704DBFA}"/>
              </a:ext>
            </a:extLst>
          </p:cNvPr>
          <p:cNvSpPr>
            <a:spLocks noGrp="1"/>
          </p:cNvSpPr>
          <p:nvPr>
            <p:ph type="tbl" sz="quarter" idx="10"/>
          </p:nvPr>
        </p:nvSpPr>
        <p:spPr>
          <a:xfrm>
            <a:off x="795337" y="1920240"/>
            <a:ext cx="8010144" cy="3858768"/>
          </a:xfrm>
        </p:spPr>
        <p:txBody>
          <a:bodyPr lIns="0" tIns="0" rIns="0" bIns="0"/>
          <a:lstStyle>
            <a:lvl1pPr>
              <a:defRPr>
                <a:latin typeface="+mn-lt"/>
              </a:defRPr>
            </a:lvl1pPr>
          </a:lstStyle>
          <a:p>
            <a:endParaRPr lang="en-US"/>
          </a:p>
        </p:txBody>
      </p:sp>
    </p:spTree>
    <p:extLst>
      <p:ext uri="{BB962C8B-B14F-4D97-AF65-F5344CB8AC3E}">
        <p14:creationId xmlns:p14="http://schemas.microsoft.com/office/powerpoint/2010/main" val="9252616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Gray end slide">
    <p:spTree>
      <p:nvGrpSpPr>
        <p:cNvPr id="1" name=""/>
        <p:cNvGrpSpPr/>
        <p:nvPr/>
      </p:nvGrpSpPr>
      <p:grpSpPr>
        <a:xfrm>
          <a:off x="0" y="0"/>
          <a:ext cx="0" cy="0"/>
          <a:chOff x="0" y="0"/>
          <a:chExt cx="0" cy="0"/>
        </a:xfrm>
      </p:grpSpPr>
      <p:pic>
        <p:nvPicPr>
          <p:cNvPr id="3" name="Picture 2" descr="Shape&#10;&#10;Description automatically generated">
            <a:extLst>
              <a:ext uri="{FF2B5EF4-FFF2-40B4-BE49-F238E27FC236}">
                <a16:creationId xmlns:a16="http://schemas.microsoft.com/office/drawing/2014/main" id="{768E917F-4C4F-4D78-BB75-6B03BEB2D2D5}"/>
              </a:ext>
            </a:extLst>
          </p:cNvPr>
          <p:cNvPicPr>
            <a:picLocks noChangeAspect="1"/>
          </p:cNvPicPr>
          <p:nvPr userDrawn="1"/>
        </p:nvPicPr>
        <p:blipFill>
          <a:blip r:embed="rId2"/>
          <a:stretch>
            <a:fillRect/>
          </a:stretch>
        </p:blipFill>
        <p:spPr>
          <a:xfrm>
            <a:off x="0" y="893"/>
            <a:ext cx="12188825" cy="6856214"/>
          </a:xfrm>
          <a:prstGeom prst="rect">
            <a:avLst/>
          </a:prstGeom>
          <a:solidFill>
            <a:srgbClr val="EB1000"/>
          </a:solidFill>
        </p:spPr>
      </p:pic>
      <p:pic>
        <p:nvPicPr>
          <p:cNvPr id="8" name="Picture 7" descr="Logo&#10;&#10;Description automatically generated">
            <a:extLst>
              <a:ext uri="{FF2B5EF4-FFF2-40B4-BE49-F238E27FC236}">
                <a16:creationId xmlns:a16="http://schemas.microsoft.com/office/drawing/2014/main" id="{8480A603-EAD6-4EF0-83FC-9CEC50D99930}"/>
              </a:ext>
            </a:extLst>
          </p:cNvPr>
          <p:cNvPicPr>
            <a:picLocks noChangeAspect="1"/>
          </p:cNvPicPr>
          <p:nvPr userDrawn="1"/>
        </p:nvPicPr>
        <p:blipFill>
          <a:blip r:embed="rId3"/>
          <a:stretch>
            <a:fillRect/>
          </a:stretch>
        </p:blipFill>
        <p:spPr>
          <a:xfrm>
            <a:off x="5607700" y="2759988"/>
            <a:ext cx="973426" cy="1338024"/>
          </a:xfrm>
          <a:prstGeom prst="rect">
            <a:avLst/>
          </a:prstGeom>
        </p:spPr>
      </p:pic>
    </p:spTree>
    <p:extLst>
      <p:ext uri="{BB962C8B-B14F-4D97-AF65-F5344CB8AC3E}">
        <p14:creationId xmlns:p14="http://schemas.microsoft.com/office/powerpoint/2010/main" val="38389756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11" name="Round Same Side Corner Rectangle 10">
            <a:extLst>
              <a:ext uri="{FF2B5EF4-FFF2-40B4-BE49-F238E27FC236}">
                <a16:creationId xmlns:a16="http://schemas.microsoft.com/office/drawing/2014/main" id="{D14E6440-EB79-A143-A2A1-A9AB4B2A5ADD}"/>
              </a:ext>
            </a:extLst>
          </p:cNvPr>
          <p:cNvSpPr/>
          <p:nvPr userDrawn="1"/>
        </p:nvSpPr>
        <p:spPr>
          <a:xfrm>
            <a:off x="11261966" y="6438640"/>
            <a:ext cx="331702" cy="419360"/>
          </a:xfrm>
          <a:prstGeom prst="round2SameRect">
            <a:avLst>
              <a:gd name="adj1" fmla="val 50000"/>
              <a:gd name="adj2" fmla="val 0"/>
            </a:avLst>
          </a:prstGeom>
          <a:gradFill flip="none" rotWithShape="1">
            <a:gsLst>
              <a:gs pos="0">
                <a:schemeClr val="tx1">
                  <a:lumMod val="50000"/>
                  <a:lumOff val="50000"/>
                </a:schemeClr>
              </a:gs>
              <a:gs pos="100000">
                <a:schemeClr val="tx1">
                  <a:lumMod val="75000"/>
                  <a:lumOff val="25000"/>
                </a:schemeClr>
              </a:gs>
            </a:gsLst>
            <a:lin ang="2700000" scaled="1"/>
            <a:tileRect/>
          </a:gra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sz="1799"/>
          </a:p>
        </p:txBody>
      </p:sp>
      <p:sp>
        <p:nvSpPr>
          <p:cNvPr id="12" name="TextBox 11">
            <a:extLst>
              <a:ext uri="{FF2B5EF4-FFF2-40B4-BE49-F238E27FC236}">
                <a16:creationId xmlns:a16="http://schemas.microsoft.com/office/drawing/2014/main" id="{4DAA20E8-0180-E84B-88EB-D60E6313BF96}"/>
              </a:ext>
            </a:extLst>
          </p:cNvPr>
          <p:cNvSpPr txBox="1"/>
          <p:nvPr userDrawn="1"/>
        </p:nvSpPr>
        <p:spPr>
          <a:xfrm>
            <a:off x="11261966" y="6571376"/>
            <a:ext cx="331702"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3737CA22-5F75-EC48-B055-46DFA6B2EBD0}"/>
              </a:ext>
            </a:extLst>
          </p:cNvPr>
          <p:cNvSpPr txBox="1"/>
          <p:nvPr userDrawn="1"/>
        </p:nvSpPr>
        <p:spPr>
          <a:xfrm>
            <a:off x="10155079" y="6586766"/>
            <a:ext cx="906016"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Innovation Research</a:t>
            </a:r>
          </a:p>
        </p:txBody>
      </p:sp>
    </p:spTree>
    <p:extLst>
      <p:ext uri="{BB962C8B-B14F-4D97-AF65-F5344CB8AC3E}">
        <p14:creationId xmlns:p14="http://schemas.microsoft.com/office/powerpoint/2010/main" val="19163017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pic>
        <p:nvPicPr>
          <p:cNvPr id="3" name="Picture 2" descr="A picture containing light&#10;&#10;Description automatically generated">
            <a:extLst>
              <a:ext uri="{FF2B5EF4-FFF2-40B4-BE49-F238E27FC236}">
                <a16:creationId xmlns:a16="http://schemas.microsoft.com/office/drawing/2014/main" id="{6E4F79F1-D0B4-47D5-8949-FBE94111B975}"/>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rgbClr val="EB1000"/>
                </a:solidFill>
                <a:latin typeface="+mj-lt"/>
              </a:defRPr>
            </a:lvl1pPr>
          </a:lstStyle>
          <a:p>
            <a:r>
              <a:rPr lang="en-US" dirty="0"/>
              <a:t>Click to edit Master title style</a:t>
            </a:r>
          </a:p>
        </p:txBody>
      </p:sp>
    </p:spTree>
    <p:extLst>
      <p:ext uri="{BB962C8B-B14F-4D97-AF65-F5344CB8AC3E}">
        <p14:creationId xmlns:p14="http://schemas.microsoft.com/office/powerpoint/2010/main" val="1830098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Alt">
    <p:spTree>
      <p:nvGrpSpPr>
        <p:cNvPr id="1" name=""/>
        <p:cNvGrpSpPr/>
        <p:nvPr/>
      </p:nvGrpSpPr>
      <p:grpSpPr>
        <a:xfrm>
          <a:off x="0" y="0"/>
          <a:ext cx="0" cy="0"/>
          <a:chOff x="0" y="0"/>
          <a:chExt cx="0" cy="0"/>
        </a:xfrm>
      </p:grpSpPr>
      <p:pic>
        <p:nvPicPr>
          <p:cNvPr id="10" name="Picture 9" descr="A picture containing light&#10;&#10;Description automatically generated">
            <a:extLst>
              <a:ext uri="{FF2B5EF4-FFF2-40B4-BE49-F238E27FC236}">
                <a16:creationId xmlns:a16="http://schemas.microsoft.com/office/drawing/2014/main" id="{3A27C8B7-98BC-4CD6-B3CF-51328C33399A}"/>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rgbClr val="EB1000"/>
                </a:solidFill>
                <a:latin typeface="+mj-lt"/>
              </a:defRPr>
            </a:lvl1pPr>
          </a:lstStyle>
          <a:p>
            <a:r>
              <a:rPr lang="en-US" dirty="0"/>
              <a:t>Click to edit Master title style</a:t>
            </a:r>
          </a:p>
        </p:txBody>
      </p:sp>
    </p:spTree>
    <p:extLst>
      <p:ext uri="{BB962C8B-B14F-4D97-AF65-F5344CB8AC3E}">
        <p14:creationId xmlns:p14="http://schemas.microsoft.com/office/powerpoint/2010/main" val="23982958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8F3AC819-F530-40C9-A766-72AA783EB3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chemeClr val="bg1"/>
                </a:solidFill>
                <a:latin typeface="+mj-lt"/>
              </a:defRPr>
            </a:lvl1pPr>
          </a:lstStyle>
          <a:p>
            <a:r>
              <a:rPr lang="en-US" dirty="0"/>
              <a:t>Click to edit Master title style</a:t>
            </a:r>
          </a:p>
        </p:txBody>
      </p:sp>
    </p:spTree>
    <p:extLst>
      <p:ext uri="{BB962C8B-B14F-4D97-AF65-F5344CB8AC3E}">
        <p14:creationId xmlns:p14="http://schemas.microsoft.com/office/powerpoint/2010/main" val="32754614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 Alt">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58EEE7F-0049-4097-A2ED-ECC4037507F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chemeClr val="bg1"/>
                </a:solidFill>
                <a:latin typeface="+mj-lt"/>
              </a:defRPr>
            </a:lvl1pPr>
          </a:lstStyle>
          <a:p>
            <a:r>
              <a:rPr lang="en-US" dirty="0"/>
              <a:t>Click to edit Master title style</a:t>
            </a:r>
          </a:p>
        </p:txBody>
      </p:sp>
    </p:spTree>
    <p:extLst>
      <p:ext uri="{BB962C8B-B14F-4D97-AF65-F5344CB8AC3E}">
        <p14:creationId xmlns:p14="http://schemas.microsoft.com/office/powerpoint/2010/main" val="2503913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White - Bottom Graphic">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dirty="0"/>
              <a:t>Click to edit Master title style</a:t>
            </a:r>
          </a:p>
        </p:txBody>
      </p:sp>
      <p:sp>
        <p:nvSpPr>
          <p:cNvPr id="3" name="Content Placeholder 2"/>
          <p:cNvSpPr>
            <a:spLocks noGrp="1"/>
          </p:cNvSpPr>
          <p:nvPr>
            <p:ph idx="1"/>
          </p:nvPr>
        </p:nvSpPr>
        <p:spPr/>
        <p:txBody>
          <a:bodyPr lIns="45720" tIns="45720" rIns="45720" bIns="4572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Black - Bottom Graphic">
    <p:spTree>
      <p:nvGrpSpPr>
        <p:cNvPr id="1" name=""/>
        <p:cNvGrpSpPr/>
        <p:nvPr/>
      </p:nvGrpSpPr>
      <p:grpSpPr>
        <a:xfrm>
          <a:off x="0" y="0"/>
          <a:ext cx="0" cy="0"/>
          <a:chOff x="0" y="0"/>
          <a:chExt cx="0" cy="0"/>
        </a:xfrm>
      </p:grpSpPr>
      <p:sp>
        <p:nvSpPr>
          <p:cNvPr id="11" name="Rectangle 5"/>
          <p:cNvSpPr>
            <a:spLocks noChangeArrowheads="1"/>
          </p:cNvSpPr>
          <p:nvPr userDrawn="1"/>
        </p:nvSpPr>
        <p:spPr bwMode="auto">
          <a:xfrm>
            <a:off x="0" y="0"/>
            <a:ext cx="12188825" cy="6858000"/>
          </a:xfrm>
          <a:prstGeom prst="rect">
            <a:avLst/>
          </a:prstGeom>
          <a:solidFill>
            <a:srgbClr val="2C2C2C"/>
          </a:solidFill>
          <a:ln w="12700">
            <a:miter lim="400000"/>
          </a:ln>
        </p:spPr>
        <p:txBody>
          <a:bodyPr lIns="0" tIns="0" rIns="0" bIns="0" anchor="ctr"/>
          <a:lstStyle/>
          <a:p>
            <a:pPr lvl="0" algn="ctr" defTabSz="825500"/>
            <a:endParaRPr lang="en-US" sz="3600">
              <a:solidFill>
                <a:srgbClr val="FFFFFF"/>
              </a:solidFill>
              <a:latin typeface="+mj-lt"/>
              <a:ea typeface="+mj-ea"/>
              <a:cs typeface="+mj-cs"/>
              <a:sym typeface="Helvetica Light"/>
            </a:endParaRPr>
          </a:p>
        </p:txBody>
      </p:sp>
      <p:sp>
        <p:nvSpPr>
          <p:cNvPr id="12" name="Rectangle 11">
            <a:extLst>
              <a:ext uri="{FF2B5EF4-FFF2-40B4-BE49-F238E27FC236}">
                <a16:creationId xmlns:a16="http://schemas.microsoft.com/office/drawing/2014/main" id="{9091EAC9-E1FB-47C8-99DA-33D1276A588E}"/>
              </a:ext>
            </a:extLst>
          </p:cNvPr>
          <p:cNvSpPr/>
          <p:nvPr userDrawn="1"/>
        </p:nvSpPr>
        <p:spPr>
          <a:xfrm>
            <a:off x="0" y="6446520"/>
            <a:ext cx="12192000"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dobe">
            <a:extLst>
              <a:ext uri="{FF2B5EF4-FFF2-40B4-BE49-F238E27FC236}">
                <a16:creationId xmlns:a16="http://schemas.microsoft.com/office/drawing/2014/main" id="{9141CC4C-7C4C-4702-B363-52863C701045}"/>
              </a:ext>
            </a:extLst>
          </p:cNvPr>
          <p:cNvPicPr>
            <a:picLocks noChangeAspect="1"/>
          </p:cNvPicPr>
          <p:nvPr userDrawn="1"/>
        </p:nvPicPr>
        <p:blipFill>
          <a:blip r:embed="rId2"/>
          <a:stretch>
            <a:fillRect/>
          </a:stretch>
        </p:blipFill>
        <p:spPr>
          <a:xfrm>
            <a:off x="401915" y="6578695"/>
            <a:ext cx="566079" cy="147131"/>
          </a:xfrm>
          <a:prstGeom prst="rect">
            <a:avLst/>
          </a:prstGeom>
        </p:spPr>
      </p:pic>
      <p:sp>
        <p:nvSpPr>
          <p:cNvPr id="14" name="Date Placeholder 3">
            <a:extLst>
              <a:ext uri="{FF2B5EF4-FFF2-40B4-BE49-F238E27FC236}">
                <a16:creationId xmlns:a16="http://schemas.microsoft.com/office/drawing/2014/main" id="{389DDB37-32C2-46C5-BB3D-0706817D5849}"/>
              </a:ext>
            </a:extLst>
          </p:cNvPr>
          <p:cNvSpPr txBox="1">
            <a:spLocks/>
          </p:cNvSpPr>
          <p:nvPr userDrawn="1"/>
        </p:nvSpPr>
        <p:spPr>
          <a:xfrm>
            <a:off x="9302847"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dirty="0">
                <a:solidFill>
                  <a:srgbClr val="6E6E6E"/>
                </a:solidFill>
                <a:latin typeface="Adobe Clean" panose="020B0503020404020204" pitchFamily="34" charset="0"/>
              </a:rPr>
              <a:t>© 2021 Adobe. All Rights Reserved. Adobe Confidential.</a:t>
            </a:r>
          </a:p>
        </p:txBody>
      </p:sp>
      <p:sp>
        <p:nvSpPr>
          <p:cNvPr id="2" name="Title 1"/>
          <p:cNvSpPr>
            <a:spLocks noGrp="1"/>
          </p:cNvSpPr>
          <p:nvPr>
            <p:ph type="title"/>
          </p:nvPr>
        </p:nvSpPr>
        <p:spPr/>
        <p:txBody>
          <a:bodyPr lIns="45720" tIns="45720" rIns="45720" bIns="45720"/>
          <a:lstStyle>
            <a:lvl1pPr>
              <a:defRPr>
                <a:solidFill>
                  <a:schemeClr val="bg1"/>
                </a:solidFill>
                <a:latin typeface="+mj-lt"/>
              </a:defRPr>
            </a:lvl1pPr>
          </a:lstStyle>
          <a:p>
            <a:r>
              <a:rPr lang="en-US" dirty="0"/>
              <a:t>Click to edit Master title style</a:t>
            </a:r>
          </a:p>
        </p:txBody>
      </p:sp>
      <p:sp>
        <p:nvSpPr>
          <p:cNvPr id="3" name="Content Placeholder 2"/>
          <p:cNvSpPr>
            <a:spLocks noGrp="1"/>
          </p:cNvSpPr>
          <p:nvPr>
            <p:ph idx="1"/>
          </p:nvPr>
        </p:nvSpPr>
        <p:spPr>
          <a:xfrm>
            <a:off x="304721" y="1192212"/>
            <a:ext cx="11579384" cy="5248276"/>
          </a:xfrm>
        </p:spPr>
        <p:txBody>
          <a:bodyPr lIns="45720" tIns="45720" rIns="45720" bIns="45720">
            <a:noAutofit/>
          </a:bodyPr>
          <a:lstStyle>
            <a:lvl1pPr>
              <a:buClr>
                <a:schemeClr val="bg1"/>
              </a:buCl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buClr>
                <a:schemeClr val="bg1"/>
              </a:buClr>
              <a:defRPr>
                <a:solidFill>
                  <a:schemeClr val="bg1"/>
                </a:solidFill>
                <a:latin typeface="+mn-lt"/>
              </a:defRPr>
            </a:lvl4pPr>
            <a:lvl5pPr>
              <a:buClr>
                <a:schemeClr val="bg1"/>
              </a:buClr>
              <a:defRPr>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a:extLst>
              <a:ext uri="{FF2B5EF4-FFF2-40B4-BE49-F238E27FC236}">
                <a16:creationId xmlns:a16="http://schemas.microsoft.com/office/drawing/2014/main" id="{D3B3C625-D009-4CBF-8206-AF0AFEECD2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256CFA1-5786-4E33-8FBD-41717C94D1D6}"/>
              </a:ext>
            </a:extLst>
          </p:cNvPr>
          <p:cNvSpPr>
            <a:spLocks noGrp="1"/>
          </p:cNvSpPr>
          <p:nvPr>
            <p:ph type="sldNum" sz="quarter" idx="12"/>
          </p:nvPr>
        </p:nvSpPr>
        <p:spPr/>
        <p:txBody>
          <a:bodyPr/>
          <a:lstStyle/>
          <a:p>
            <a:pPr algn="ctr"/>
            <a:fld id="{90156F56-D5AE-4C6F-B826-C69D1BC521BB}" type="slidenum">
              <a:rPr lang="en-US" smtClean="0"/>
              <a:pPr algn="ctr"/>
              <a:t>‹#›</a:t>
            </a:fld>
            <a:endParaRPr lang="en-US" dirty="0"/>
          </a:p>
        </p:txBody>
      </p:sp>
    </p:spTree>
    <p:extLst>
      <p:ext uri="{BB962C8B-B14F-4D97-AF65-F5344CB8AC3E}">
        <p14:creationId xmlns:p14="http://schemas.microsoft.com/office/powerpoint/2010/main" val="31830275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6" name="Picture 5" descr="A picture containing light&#10;&#10;Description automatically generated">
            <a:extLst>
              <a:ext uri="{FF2B5EF4-FFF2-40B4-BE49-F238E27FC236}">
                <a16:creationId xmlns:a16="http://schemas.microsoft.com/office/drawing/2014/main" id="{B9ADD37C-2727-4A40-9CE0-0724FC52E619}"/>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795528" y="914400"/>
            <a:ext cx="8010144" cy="585216"/>
          </a:xfrm>
        </p:spPr>
        <p:txBody>
          <a:bodyPr wrap="square" lIns="0" tIns="0" rIns="0" bIns="0" anchor="t" anchorCtr="0">
            <a:noAutofit/>
          </a:bodyPr>
          <a:lstStyle>
            <a:lvl1pPr>
              <a:defRPr sz="3600">
                <a:solidFill>
                  <a:srgbClr val="EB1000"/>
                </a:solidFill>
                <a:latin typeface="+mj-lt"/>
              </a:defRPr>
            </a:lvl1pPr>
          </a:lstStyle>
          <a:p>
            <a:r>
              <a:rPr lang="en-US" dirty="0"/>
              <a:t>Click to edit Master title style</a:t>
            </a:r>
          </a:p>
        </p:txBody>
      </p:sp>
      <p:sp>
        <p:nvSpPr>
          <p:cNvPr id="3" name="Table Placeholder 2">
            <a:extLst>
              <a:ext uri="{FF2B5EF4-FFF2-40B4-BE49-F238E27FC236}">
                <a16:creationId xmlns:a16="http://schemas.microsoft.com/office/drawing/2014/main" id="{59631ABC-0F20-4732-9A2E-F2D10704DBFA}"/>
              </a:ext>
            </a:extLst>
          </p:cNvPr>
          <p:cNvSpPr>
            <a:spLocks noGrp="1"/>
          </p:cNvSpPr>
          <p:nvPr>
            <p:ph type="tbl" sz="quarter" idx="10"/>
          </p:nvPr>
        </p:nvSpPr>
        <p:spPr>
          <a:xfrm>
            <a:off x="795337" y="1920240"/>
            <a:ext cx="8010144" cy="3858768"/>
          </a:xfrm>
        </p:spPr>
        <p:txBody>
          <a:bodyPr lIns="0" tIns="0" rIns="0" bIns="0"/>
          <a:lstStyle>
            <a:lvl1pPr>
              <a:defRPr>
                <a:latin typeface="+mn-lt"/>
              </a:defRPr>
            </a:lvl1pPr>
          </a:lstStyle>
          <a:p>
            <a:endParaRPr lang="en-US"/>
          </a:p>
        </p:txBody>
      </p:sp>
    </p:spTree>
    <p:extLst>
      <p:ext uri="{BB962C8B-B14F-4D97-AF65-F5344CB8AC3E}">
        <p14:creationId xmlns:p14="http://schemas.microsoft.com/office/powerpoint/2010/main" val="4071323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 Light Airy">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dirty="0"/>
              <a:t>Click to edit Master title style</a:t>
            </a:r>
          </a:p>
        </p:txBody>
      </p:sp>
      <p:sp>
        <p:nvSpPr>
          <p:cNvPr id="3" name="Content Placeholder 2"/>
          <p:cNvSpPr>
            <a:spLocks noGrp="1"/>
          </p:cNvSpPr>
          <p:nvPr>
            <p:ph idx="1"/>
          </p:nvPr>
        </p:nvSpPr>
        <p:spPr>
          <a:xfrm>
            <a:off x="304721" y="1431924"/>
            <a:ext cx="11582479" cy="4593971"/>
          </a:xfrm>
        </p:spPr>
        <p:txBody>
          <a:bodyPr/>
          <a:lstStyle>
            <a:lvl1pPr>
              <a:spcBef>
                <a:spcPts val="1800"/>
              </a:spcBef>
              <a:defRPr>
                <a:latin typeface="+mn-lt"/>
              </a:defRPr>
            </a:lvl1pPr>
            <a:lvl2pPr>
              <a:spcBef>
                <a:spcPts val="1800"/>
              </a:spcBef>
              <a:defRPr>
                <a:latin typeface="+mn-lt"/>
              </a:defRPr>
            </a:lvl2pPr>
            <a:lvl3pPr>
              <a:spcBef>
                <a:spcPts val="1800"/>
              </a:spcBef>
              <a:defRPr>
                <a:latin typeface="+mn-lt"/>
              </a:defRPr>
            </a:lvl3pPr>
            <a:lvl4pPr>
              <a:spcBef>
                <a:spcPts val="1800"/>
              </a:spcBef>
              <a:defRPr>
                <a:latin typeface="+mn-lt"/>
              </a:defRPr>
            </a:lvl4pPr>
            <a:lvl5pPr>
              <a:spcBef>
                <a:spcPts val="1800"/>
              </a:spcBef>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dirty="0"/>
          </a:p>
        </p:txBody>
      </p:sp>
    </p:spTree>
    <p:extLst>
      <p:ext uri="{BB962C8B-B14F-4D97-AF65-F5344CB8AC3E}">
        <p14:creationId xmlns:p14="http://schemas.microsoft.com/office/powerpoint/2010/main" val="10906345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1696697" y="6528875"/>
            <a:ext cx="187408" cy="258055"/>
          </a:xfrm>
          <a:prstGeom prst="rect">
            <a:avLst/>
          </a:prstGeom>
        </p:spPr>
      </p:pic>
      <p:sp>
        <p:nvSpPr>
          <p:cNvPr id="5" name="Footer Placeholder 4"/>
          <p:cNvSpPr>
            <a:spLocks noGrp="1"/>
          </p:cNvSpPr>
          <p:nvPr>
            <p:ph type="ftr" sz="quarter" idx="3"/>
          </p:nvPr>
        </p:nvSpPr>
        <p:spPr>
          <a:xfrm>
            <a:off x="1160890" y="6565990"/>
            <a:ext cx="4324081" cy="181185"/>
          </a:xfrm>
          <a:prstGeom prst="rect">
            <a:avLst/>
          </a:prstGeom>
        </p:spPr>
        <p:txBody>
          <a:bodyPr vert="horz" lIns="0" tIns="54414" rIns="108829" bIns="54414" rtlCol="0" anchor="ctr"/>
          <a:lstStyle>
            <a:lvl1pPr algn="l">
              <a:defRPr sz="800">
                <a:solidFill>
                  <a:srgbClr val="808080"/>
                </a:solidFill>
              </a:defRPr>
            </a:lvl1pPr>
          </a:lstStyle>
          <a:p>
            <a:endParaRPr lang="en-US" dirty="0"/>
          </a:p>
        </p:txBody>
      </p:sp>
      <p:sp>
        <p:nvSpPr>
          <p:cNvPr id="6" name="Slide Number Placeholder 5"/>
          <p:cNvSpPr>
            <a:spLocks noGrp="1"/>
          </p:cNvSpPr>
          <p:nvPr>
            <p:ph type="sldNum" sz="quarter" idx="4"/>
          </p:nvPr>
        </p:nvSpPr>
        <p:spPr>
          <a:xfrm>
            <a:off x="5811879" y="6572445"/>
            <a:ext cx="565068" cy="168274"/>
          </a:xfrm>
          <a:prstGeom prst="rect">
            <a:avLst/>
          </a:prstGeom>
        </p:spPr>
        <p:txBody>
          <a:bodyPr vert="horz" lIns="108829" tIns="54414" rIns="108829" bIns="54414" rtlCol="0" anchor="ctr"/>
          <a:lstStyle>
            <a:lvl1pPr algn="r">
              <a:defRPr sz="800">
                <a:solidFill>
                  <a:srgbClr val="808080"/>
                </a:solidFill>
              </a:defRPr>
            </a:lvl1pPr>
          </a:lstStyle>
          <a:p>
            <a:pPr algn="ctr"/>
            <a:fld id="{90156F56-D5AE-4C6F-B826-C69D1BC521BB}" type="slidenum">
              <a:rPr lang="en-US" smtClean="0"/>
              <a:pPr algn="ctr"/>
              <a:t>‹#›</a:t>
            </a:fld>
            <a:endParaRPr lang="en-US" dirty="0"/>
          </a:p>
        </p:txBody>
      </p:sp>
      <p:sp>
        <p:nvSpPr>
          <p:cNvPr id="2" name="Title Placeholder 1"/>
          <p:cNvSpPr>
            <a:spLocks noGrp="1"/>
          </p:cNvSpPr>
          <p:nvPr>
            <p:ph type="title"/>
          </p:nvPr>
        </p:nvSpPr>
        <p:spPr>
          <a:xfrm>
            <a:off x="304721" y="287507"/>
            <a:ext cx="11579384" cy="674518"/>
          </a:xfrm>
          <a:prstGeom prst="rect">
            <a:avLst/>
          </a:prstGeom>
        </p:spPr>
        <p:txBody>
          <a:bodyPr vert="horz" lIns="45720" tIns="45720" rIns="45720" bIns="45720" rtlCol="0" anchor="ctr">
            <a:noAutofit/>
          </a:bodyPr>
          <a:lstStyle/>
          <a:p>
            <a:r>
              <a:rPr lang="en-US" dirty="0"/>
              <a:t>Click to edit Master title style</a:t>
            </a:r>
          </a:p>
        </p:txBody>
      </p:sp>
      <p:sp>
        <p:nvSpPr>
          <p:cNvPr id="3" name="Text Placeholder 2"/>
          <p:cNvSpPr>
            <a:spLocks noGrp="1"/>
          </p:cNvSpPr>
          <p:nvPr>
            <p:ph type="body" idx="1"/>
          </p:nvPr>
        </p:nvSpPr>
        <p:spPr>
          <a:xfrm>
            <a:off x="304721" y="1192212"/>
            <a:ext cx="11579384" cy="5029200"/>
          </a:xfrm>
          <a:prstGeom prst="rect">
            <a:avLst/>
          </a:prstGeom>
        </p:spPr>
        <p:txBody>
          <a:bodyPr vert="horz" lIns="45720" tIns="45720" rIns="4572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Date Placeholder 3">
            <a:extLst>
              <a:ext uri="{FF2B5EF4-FFF2-40B4-BE49-F238E27FC236}">
                <a16:creationId xmlns:a16="http://schemas.microsoft.com/office/drawing/2014/main" id="{B6B79020-5584-4269-94C4-D19498B57D19}"/>
              </a:ext>
            </a:extLst>
          </p:cNvPr>
          <p:cNvSpPr txBox="1">
            <a:spLocks/>
          </p:cNvSpPr>
          <p:nvPr userDrawn="1"/>
        </p:nvSpPr>
        <p:spPr>
          <a:xfrm>
            <a:off x="9302847"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dirty="0">
                <a:solidFill>
                  <a:srgbClr val="808080"/>
                </a:solidFill>
                <a:latin typeface="Adobe Clean" panose="020B0503020404020204" pitchFamily="34" charset="0"/>
              </a:rPr>
              <a:t>© 2021 Adobe. All Rights Reserved. Adobe Confidential.</a:t>
            </a:r>
          </a:p>
        </p:txBody>
      </p:sp>
      <p:sp>
        <p:nvSpPr>
          <p:cNvPr id="188" name="TextBox 187">
            <a:extLst>
              <a:ext uri="{FF2B5EF4-FFF2-40B4-BE49-F238E27FC236}">
                <a16:creationId xmlns:a16="http://schemas.microsoft.com/office/drawing/2014/main" id="{1A64515C-328B-4551-BE77-F064F3709106}"/>
              </a:ext>
            </a:extLst>
          </p:cNvPr>
          <p:cNvSpPr txBox="1"/>
          <p:nvPr userDrawn="1"/>
        </p:nvSpPr>
        <p:spPr>
          <a:xfrm>
            <a:off x="2966246" y="-552841"/>
            <a:ext cx="163507" cy="153888"/>
          </a:xfrm>
          <a:prstGeom prst="rect">
            <a:avLst/>
          </a:prstGeom>
          <a:noFill/>
        </p:spPr>
        <p:txBody>
          <a:bodyPr wrap="none" lIns="0" tIns="0" rIns="0" bIns="0" rtlCol="0">
            <a:spAutoFit/>
          </a:bodyPr>
          <a:lstStyle/>
          <a:p>
            <a:pPr algn="ctr"/>
            <a:r>
              <a:rPr lang="en-US" sz="1000" dirty="0">
                <a:solidFill>
                  <a:schemeClr val="accent2">
                    <a:lumMod val="60000"/>
                    <a:lumOff val="40000"/>
                  </a:schemeClr>
                </a:solidFill>
                <a:latin typeface="+mj-lt"/>
              </a:rPr>
              <a:t>1/4</a:t>
            </a:r>
          </a:p>
        </p:txBody>
      </p:sp>
      <p:sp>
        <p:nvSpPr>
          <p:cNvPr id="189" name="TextBox 188">
            <a:extLst>
              <a:ext uri="{FF2B5EF4-FFF2-40B4-BE49-F238E27FC236}">
                <a16:creationId xmlns:a16="http://schemas.microsoft.com/office/drawing/2014/main" id="{EF79B6FC-246B-452A-B1E0-51F12110C936}"/>
              </a:ext>
            </a:extLst>
          </p:cNvPr>
          <p:cNvSpPr txBox="1"/>
          <p:nvPr userDrawn="1"/>
        </p:nvSpPr>
        <p:spPr>
          <a:xfrm>
            <a:off x="6007572" y="-552841"/>
            <a:ext cx="182742" cy="153888"/>
          </a:xfrm>
          <a:prstGeom prst="rect">
            <a:avLst/>
          </a:prstGeom>
          <a:noFill/>
        </p:spPr>
        <p:txBody>
          <a:bodyPr wrap="none" lIns="0" tIns="0" rIns="0" bIns="0" rtlCol="0">
            <a:spAutoFit/>
          </a:bodyPr>
          <a:lstStyle/>
          <a:p>
            <a:pPr algn="ctr"/>
            <a:r>
              <a:rPr lang="en-US" sz="1000" dirty="0">
                <a:solidFill>
                  <a:schemeClr val="accent2">
                    <a:lumMod val="60000"/>
                    <a:lumOff val="40000"/>
                  </a:schemeClr>
                </a:solidFill>
                <a:latin typeface="+mj-lt"/>
              </a:rPr>
              <a:t>2/4</a:t>
            </a:r>
          </a:p>
        </p:txBody>
      </p:sp>
      <p:sp>
        <p:nvSpPr>
          <p:cNvPr id="190" name="TextBox 189">
            <a:extLst>
              <a:ext uri="{FF2B5EF4-FFF2-40B4-BE49-F238E27FC236}">
                <a16:creationId xmlns:a16="http://schemas.microsoft.com/office/drawing/2014/main" id="{C3360E26-7522-4BFD-BC60-2D055A888CA5}"/>
              </a:ext>
            </a:extLst>
          </p:cNvPr>
          <p:cNvSpPr txBox="1"/>
          <p:nvPr userDrawn="1"/>
        </p:nvSpPr>
        <p:spPr>
          <a:xfrm>
            <a:off x="9045283" y="-552841"/>
            <a:ext cx="184346" cy="153888"/>
          </a:xfrm>
          <a:prstGeom prst="rect">
            <a:avLst/>
          </a:prstGeom>
          <a:noFill/>
        </p:spPr>
        <p:txBody>
          <a:bodyPr wrap="none" lIns="0" tIns="0" rIns="0" bIns="0" rtlCol="0">
            <a:spAutoFit/>
          </a:bodyPr>
          <a:lstStyle/>
          <a:p>
            <a:pPr algn="ctr"/>
            <a:r>
              <a:rPr lang="en-US" sz="1000" dirty="0">
                <a:solidFill>
                  <a:schemeClr val="accent2">
                    <a:lumMod val="60000"/>
                    <a:lumOff val="40000"/>
                  </a:schemeClr>
                </a:solidFill>
                <a:latin typeface="+mj-lt"/>
              </a:rPr>
              <a:t>3/4</a:t>
            </a:r>
          </a:p>
        </p:txBody>
      </p:sp>
      <p:sp>
        <p:nvSpPr>
          <p:cNvPr id="191" name="TextBox 190">
            <a:extLst>
              <a:ext uri="{FF2B5EF4-FFF2-40B4-BE49-F238E27FC236}">
                <a16:creationId xmlns:a16="http://schemas.microsoft.com/office/drawing/2014/main" id="{1B2B674F-BED9-47C2-A3B4-2B770DCABFF2}"/>
              </a:ext>
            </a:extLst>
          </p:cNvPr>
          <p:cNvSpPr txBox="1"/>
          <p:nvPr userDrawn="1"/>
        </p:nvSpPr>
        <p:spPr>
          <a:xfrm>
            <a:off x="-497400" y="3737819"/>
            <a:ext cx="157094" cy="153888"/>
          </a:xfrm>
          <a:prstGeom prst="rect">
            <a:avLst/>
          </a:prstGeom>
          <a:noFill/>
        </p:spPr>
        <p:txBody>
          <a:bodyPr wrap="none" lIns="0" tIns="0" rIns="0" bIns="0" rtlCol="0">
            <a:spAutoFit/>
          </a:bodyPr>
          <a:lstStyle/>
          <a:p>
            <a:pPr algn="ctr"/>
            <a:r>
              <a:rPr lang="en-US" sz="1000" dirty="0">
                <a:solidFill>
                  <a:schemeClr val="accent2">
                    <a:lumMod val="60000"/>
                    <a:lumOff val="40000"/>
                  </a:schemeClr>
                </a:solidFill>
                <a:latin typeface="+mj-lt"/>
              </a:rPr>
              <a:t>1/2</a:t>
            </a:r>
          </a:p>
        </p:txBody>
      </p:sp>
      <p:cxnSp>
        <p:nvCxnSpPr>
          <p:cNvPr id="192" name="Straight Connector 191">
            <a:extLst>
              <a:ext uri="{FF2B5EF4-FFF2-40B4-BE49-F238E27FC236}">
                <a16:creationId xmlns:a16="http://schemas.microsoft.com/office/drawing/2014/main" id="{0EBAA9C1-8D93-4BFD-BAA1-A41029DEBD60}"/>
              </a:ext>
            </a:extLst>
          </p:cNvPr>
          <p:cNvCxnSpPr>
            <a:cxnSpLocks/>
          </p:cNvCxnSpPr>
          <p:nvPr userDrawn="1"/>
        </p:nvCxnSpPr>
        <p:spPr>
          <a:xfrm>
            <a:off x="8125884" y="-336411"/>
            <a:ext cx="0" cy="236135"/>
          </a:xfrm>
          <a:prstGeom prst="line">
            <a:avLst/>
          </a:prstGeom>
          <a:ln w="12700">
            <a:solidFill>
              <a:srgbClr val="C8C1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80184435-8E60-45C1-AE29-17BBEFEA5932}"/>
              </a:ext>
            </a:extLst>
          </p:cNvPr>
          <p:cNvCxnSpPr>
            <a:cxnSpLocks/>
          </p:cNvCxnSpPr>
          <p:nvPr userDrawn="1"/>
        </p:nvCxnSpPr>
        <p:spPr>
          <a:xfrm>
            <a:off x="4066279" y="-336411"/>
            <a:ext cx="0" cy="236135"/>
          </a:xfrm>
          <a:prstGeom prst="line">
            <a:avLst/>
          </a:prstGeom>
          <a:ln w="12700">
            <a:solidFill>
              <a:srgbClr val="C8C1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94" name="TextBox 193">
            <a:extLst>
              <a:ext uri="{FF2B5EF4-FFF2-40B4-BE49-F238E27FC236}">
                <a16:creationId xmlns:a16="http://schemas.microsoft.com/office/drawing/2014/main" id="{14B0A09D-3CAA-4F1B-82CE-AF3F795BA52C}"/>
              </a:ext>
            </a:extLst>
          </p:cNvPr>
          <p:cNvSpPr txBox="1"/>
          <p:nvPr userDrawn="1"/>
        </p:nvSpPr>
        <p:spPr>
          <a:xfrm>
            <a:off x="8038861" y="-552841"/>
            <a:ext cx="177934" cy="153888"/>
          </a:xfrm>
          <a:prstGeom prst="rect">
            <a:avLst/>
          </a:prstGeom>
          <a:noFill/>
        </p:spPr>
        <p:txBody>
          <a:bodyPr wrap="none" lIns="0" tIns="0" rIns="0" bIns="0" rtlCol="0">
            <a:spAutoFit/>
          </a:bodyPr>
          <a:lstStyle/>
          <a:p>
            <a:pPr algn="ctr"/>
            <a:r>
              <a:rPr lang="en-US" sz="1000" dirty="0">
                <a:solidFill>
                  <a:srgbClr val="A185B6"/>
                </a:solidFill>
                <a:latin typeface="+mj-lt"/>
              </a:rPr>
              <a:t>2/3</a:t>
            </a:r>
          </a:p>
        </p:txBody>
      </p:sp>
      <p:sp>
        <p:nvSpPr>
          <p:cNvPr id="195" name="TextBox 194">
            <a:extLst>
              <a:ext uri="{FF2B5EF4-FFF2-40B4-BE49-F238E27FC236}">
                <a16:creationId xmlns:a16="http://schemas.microsoft.com/office/drawing/2014/main" id="{B71B097D-1675-4E32-8EFB-5A531BBB9EDC}"/>
              </a:ext>
            </a:extLst>
          </p:cNvPr>
          <p:cNvSpPr txBox="1"/>
          <p:nvPr userDrawn="1"/>
        </p:nvSpPr>
        <p:spPr>
          <a:xfrm>
            <a:off x="3995130" y="-552841"/>
            <a:ext cx="158698" cy="153888"/>
          </a:xfrm>
          <a:prstGeom prst="rect">
            <a:avLst/>
          </a:prstGeom>
          <a:noFill/>
        </p:spPr>
        <p:txBody>
          <a:bodyPr wrap="none" lIns="0" tIns="0" rIns="0" bIns="0" rtlCol="0">
            <a:spAutoFit/>
          </a:bodyPr>
          <a:lstStyle/>
          <a:p>
            <a:pPr algn="ctr"/>
            <a:r>
              <a:rPr lang="en-US" sz="1000" dirty="0">
                <a:solidFill>
                  <a:srgbClr val="A185B6"/>
                </a:solidFill>
                <a:latin typeface="+mj-lt"/>
              </a:rPr>
              <a:t>1/3</a:t>
            </a:r>
          </a:p>
        </p:txBody>
      </p:sp>
      <p:cxnSp>
        <p:nvCxnSpPr>
          <p:cNvPr id="196" name="Straight Connector 195">
            <a:extLst>
              <a:ext uri="{FF2B5EF4-FFF2-40B4-BE49-F238E27FC236}">
                <a16:creationId xmlns:a16="http://schemas.microsoft.com/office/drawing/2014/main" id="{AE27F856-DAE5-494B-98BB-220F649A3807}"/>
              </a:ext>
            </a:extLst>
          </p:cNvPr>
          <p:cNvCxnSpPr>
            <a:cxnSpLocks/>
          </p:cNvCxnSpPr>
          <p:nvPr userDrawn="1"/>
        </p:nvCxnSpPr>
        <p:spPr>
          <a:xfrm>
            <a:off x="3047206"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5F5478E3-B63F-47B4-AF8A-14C4CACBCD3F}"/>
              </a:ext>
            </a:extLst>
          </p:cNvPr>
          <p:cNvCxnSpPr>
            <a:cxnSpLocks/>
          </p:cNvCxnSpPr>
          <p:nvPr userDrawn="1"/>
        </p:nvCxnSpPr>
        <p:spPr>
          <a:xfrm>
            <a:off x="6094412"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A175582-2488-4D5A-8D03-8CD73C93E6D1}"/>
              </a:ext>
            </a:extLst>
          </p:cNvPr>
          <p:cNvCxnSpPr>
            <a:cxnSpLocks/>
          </p:cNvCxnSpPr>
          <p:nvPr userDrawn="1"/>
        </p:nvCxnSpPr>
        <p:spPr>
          <a:xfrm>
            <a:off x="9141618"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1188983-BAB0-4F17-96EA-41E6B55B3D1E}"/>
              </a:ext>
            </a:extLst>
          </p:cNvPr>
          <p:cNvCxnSpPr>
            <a:cxnSpLocks/>
          </p:cNvCxnSpPr>
          <p:nvPr userDrawn="1"/>
        </p:nvCxnSpPr>
        <p:spPr>
          <a:xfrm>
            <a:off x="-316728" y="3814763"/>
            <a:ext cx="229387" cy="0"/>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16" name="TextBox 215">
            <a:extLst>
              <a:ext uri="{FF2B5EF4-FFF2-40B4-BE49-F238E27FC236}">
                <a16:creationId xmlns:a16="http://schemas.microsoft.com/office/drawing/2014/main" id="{ABAE5D75-3212-432F-AAC6-B51030C68AFD}"/>
              </a:ext>
            </a:extLst>
          </p:cNvPr>
          <p:cNvSpPr txBox="1"/>
          <p:nvPr userDrawn="1"/>
        </p:nvSpPr>
        <p:spPr>
          <a:xfrm>
            <a:off x="135890" y="-549443"/>
            <a:ext cx="2320820" cy="461665"/>
          </a:xfrm>
          <a:prstGeom prst="rect">
            <a:avLst/>
          </a:prstGeom>
          <a:noFill/>
        </p:spPr>
        <p:txBody>
          <a:bodyPr wrap="square" rtlCol="0">
            <a:spAutoFit/>
          </a:bodyPr>
          <a:lstStyle/>
          <a:p>
            <a:pPr algn="l"/>
            <a:r>
              <a:rPr lang="en-US" sz="800" dirty="0">
                <a:solidFill>
                  <a:schemeClr val="bg1">
                    <a:lumMod val="65000"/>
                  </a:schemeClr>
                </a:solidFill>
                <a:latin typeface="+mj-lt"/>
              </a:rPr>
              <a:t>Turn on Guides to see the custom grid.</a:t>
            </a:r>
            <a:br>
              <a:rPr lang="en-US" sz="800" dirty="0">
                <a:solidFill>
                  <a:schemeClr val="bg1">
                    <a:lumMod val="65000"/>
                  </a:schemeClr>
                </a:solidFill>
                <a:latin typeface="+mj-lt"/>
              </a:rPr>
            </a:br>
            <a:r>
              <a:rPr lang="en-US" sz="800" dirty="0">
                <a:solidFill>
                  <a:schemeClr val="bg1">
                    <a:lumMod val="65000"/>
                  </a:schemeClr>
                </a:solidFill>
                <a:latin typeface="+mn-lt"/>
              </a:rPr>
              <a:t>Mac: Control-option-command-G</a:t>
            </a:r>
            <a:br>
              <a:rPr lang="en-US" sz="800" dirty="0">
                <a:solidFill>
                  <a:schemeClr val="bg1">
                    <a:lumMod val="65000"/>
                  </a:schemeClr>
                </a:solidFill>
                <a:latin typeface="+mn-lt"/>
              </a:rPr>
            </a:br>
            <a:r>
              <a:rPr lang="en-US" sz="800" dirty="0">
                <a:solidFill>
                  <a:schemeClr val="bg1">
                    <a:lumMod val="65000"/>
                  </a:schemeClr>
                </a:solidFill>
                <a:latin typeface="+mn-lt"/>
              </a:rPr>
              <a:t>Win: Alt-F9 (or Alt-Fn-F9 on some laptops)</a:t>
            </a:r>
          </a:p>
        </p:txBody>
      </p:sp>
      <p:sp>
        <p:nvSpPr>
          <p:cNvPr id="217" name="Rectangle 216">
            <a:extLst>
              <a:ext uri="{FF2B5EF4-FFF2-40B4-BE49-F238E27FC236}">
                <a16:creationId xmlns:a16="http://schemas.microsoft.com/office/drawing/2014/main" id="{50C956DE-1845-43C5-9CFF-1FA78D6952A7}"/>
              </a:ext>
            </a:extLst>
          </p:cNvPr>
          <p:cNvSpPr/>
          <p:nvPr userDrawn="1"/>
        </p:nvSpPr>
        <p:spPr>
          <a:xfrm>
            <a:off x="12335461" y="1589"/>
            <a:ext cx="68541" cy="1192212"/>
          </a:xfrm>
          <a:prstGeom prst="rect">
            <a:avLst/>
          </a:prstGeom>
          <a:solidFill>
            <a:srgbClr val="E0E0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dirty="0">
              <a:ln>
                <a:noFill/>
              </a:ln>
              <a:solidFill>
                <a:schemeClr val="tx1"/>
              </a:solidFill>
            </a:endParaRPr>
          </a:p>
        </p:txBody>
      </p:sp>
      <p:sp>
        <p:nvSpPr>
          <p:cNvPr id="218" name="Rectangle 217">
            <a:extLst>
              <a:ext uri="{FF2B5EF4-FFF2-40B4-BE49-F238E27FC236}">
                <a16:creationId xmlns:a16="http://schemas.microsoft.com/office/drawing/2014/main" id="{DDBF8FF7-0774-4571-8763-A0D624934807}"/>
              </a:ext>
            </a:extLst>
          </p:cNvPr>
          <p:cNvSpPr/>
          <p:nvPr userDrawn="1"/>
        </p:nvSpPr>
        <p:spPr>
          <a:xfrm>
            <a:off x="12335461" y="6440488"/>
            <a:ext cx="68541" cy="417512"/>
          </a:xfrm>
          <a:prstGeom prst="rect">
            <a:avLst/>
          </a:prstGeom>
          <a:solidFill>
            <a:srgbClr val="E0E0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dirty="0">
              <a:ln>
                <a:noFill/>
              </a:ln>
              <a:solidFill>
                <a:schemeClr val="tx1"/>
              </a:solidFill>
            </a:endParaRPr>
          </a:p>
        </p:txBody>
      </p:sp>
      <p:sp>
        <p:nvSpPr>
          <p:cNvPr id="219" name="Rectangle 218">
            <a:extLst>
              <a:ext uri="{FF2B5EF4-FFF2-40B4-BE49-F238E27FC236}">
                <a16:creationId xmlns:a16="http://schemas.microsoft.com/office/drawing/2014/main" id="{3EE9D02B-518C-42CD-956B-2AEF6B675D51}"/>
              </a:ext>
            </a:extLst>
          </p:cNvPr>
          <p:cNvSpPr/>
          <p:nvPr userDrawn="1"/>
        </p:nvSpPr>
        <p:spPr>
          <a:xfrm>
            <a:off x="12335461" y="1193799"/>
            <a:ext cx="68541" cy="5248277"/>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dirty="0">
              <a:ln>
                <a:noFill/>
              </a:ln>
              <a:solidFill>
                <a:schemeClr val="tx1"/>
              </a:solidFill>
            </a:endParaRPr>
          </a:p>
        </p:txBody>
      </p:sp>
      <p:sp>
        <p:nvSpPr>
          <p:cNvPr id="220" name="TextBox 219">
            <a:extLst>
              <a:ext uri="{FF2B5EF4-FFF2-40B4-BE49-F238E27FC236}">
                <a16:creationId xmlns:a16="http://schemas.microsoft.com/office/drawing/2014/main" id="{5839C14C-9C01-41FD-BDDF-AF38E4DC7A10}"/>
              </a:ext>
            </a:extLst>
          </p:cNvPr>
          <p:cNvSpPr txBox="1"/>
          <p:nvPr userDrawn="1"/>
        </p:nvSpPr>
        <p:spPr>
          <a:xfrm>
            <a:off x="12489352" y="443807"/>
            <a:ext cx="246862" cy="307777"/>
          </a:xfrm>
          <a:prstGeom prst="rect">
            <a:avLst/>
          </a:prstGeom>
          <a:noFill/>
        </p:spPr>
        <p:txBody>
          <a:bodyPr wrap="none" lIns="0" tIns="0" rIns="0" bIns="0" rtlCol="0">
            <a:spAutoFit/>
          </a:bodyPr>
          <a:lstStyle/>
          <a:p>
            <a:pPr marL="0" algn="l" defTabSz="914400" rtl="0" eaLnBrk="1" latinLnBrk="0" hangingPunct="1"/>
            <a:r>
              <a:rPr lang="en-US" sz="1000" kern="1200" dirty="0">
                <a:solidFill>
                  <a:schemeClr val="bg1">
                    <a:lumMod val="65000"/>
                  </a:schemeClr>
                </a:solidFill>
                <a:latin typeface="+mj-lt"/>
                <a:ea typeface="+mn-ea"/>
                <a:cs typeface="+mn-cs"/>
              </a:rPr>
              <a:t>Title</a:t>
            </a:r>
            <a:br>
              <a:rPr lang="en-US" sz="1000" kern="1200" dirty="0">
                <a:solidFill>
                  <a:schemeClr val="bg1">
                    <a:lumMod val="65000"/>
                  </a:schemeClr>
                </a:solidFill>
                <a:latin typeface="+mj-lt"/>
                <a:ea typeface="+mn-ea"/>
                <a:cs typeface="+mn-cs"/>
              </a:rPr>
            </a:br>
            <a:r>
              <a:rPr lang="en-US" sz="1000" kern="1200" dirty="0">
                <a:solidFill>
                  <a:schemeClr val="bg1">
                    <a:lumMod val="65000"/>
                  </a:schemeClr>
                </a:solidFill>
                <a:latin typeface="+mj-lt"/>
                <a:ea typeface="+mn-ea"/>
                <a:cs typeface="+mn-cs"/>
              </a:rPr>
              <a:t>area</a:t>
            </a:r>
          </a:p>
        </p:txBody>
      </p:sp>
      <p:sp>
        <p:nvSpPr>
          <p:cNvPr id="221" name="TextBox 220">
            <a:extLst>
              <a:ext uri="{FF2B5EF4-FFF2-40B4-BE49-F238E27FC236}">
                <a16:creationId xmlns:a16="http://schemas.microsoft.com/office/drawing/2014/main" id="{6CED726A-1B6E-44CD-BC0B-C4CA9B7A05E6}"/>
              </a:ext>
            </a:extLst>
          </p:cNvPr>
          <p:cNvSpPr txBox="1"/>
          <p:nvPr userDrawn="1"/>
        </p:nvSpPr>
        <p:spPr>
          <a:xfrm>
            <a:off x="12489352" y="6495356"/>
            <a:ext cx="360676" cy="307777"/>
          </a:xfrm>
          <a:prstGeom prst="rect">
            <a:avLst/>
          </a:prstGeom>
          <a:noFill/>
        </p:spPr>
        <p:txBody>
          <a:bodyPr wrap="none" lIns="0" tIns="0" rIns="0" bIns="0" rtlCol="0">
            <a:spAutoFit/>
          </a:bodyPr>
          <a:lstStyle/>
          <a:p>
            <a:pPr marL="0" algn="l" defTabSz="914400" rtl="0" eaLnBrk="1" latinLnBrk="0" hangingPunct="1"/>
            <a:r>
              <a:rPr lang="en-US" sz="1000" kern="1200" dirty="0">
                <a:solidFill>
                  <a:schemeClr val="bg1">
                    <a:lumMod val="65000"/>
                  </a:schemeClr>
                </a:solidFill>
                <a:latin typeface="+mj-lt"/>
                <a:ea typeface="+mn-ea"/>
                <a:cs typeface="+mn-cs"/>
              </a:rPr>
              <a:t>Footer</a:t>
            </a:r>
            <a:br>
              <a:rPr lang="en-US" sz="1000" kern="1200" dirty="0">
                <a:solidFill>
                  <a:schemeClr val="bg1">
                    <a:lumMod val="65000"/>
                  </a:schemeClr>
                </a:solidFill>
                <a:latin typeface="+mj-lt"/>
                <a:ea typeface="+mn-ea"/>
                <a:cs typeface="+mn-cs"/>
              </a:rPr>
            </a:br>
            <a:r>
              <a:rPr lang="en-US" sz="1000" kern="1200" dirty="0">
                <a:solidFill>
                  <a:schemeClr val="bg1">
                    <a:lumMod val="65000"/>
                  </a:schemeClr>
                </a:solidFill>
                <a:latin typeface="+mj-lt"/>
                <a:ea typeface="+mn-ea"/>
                <a:cs typeface="+mn-cs"/>
              </a:rPr>
              <a:t>area</a:t>
            </a:r>
          </a:p>
        </p:txBody>
      </p:sp>
      <p:sp>
        <p:nvSpPr>
          <p:cNvPr id="222" name="TextBox 221">
            <a:extLst>
              <a:ext uri="{FF2B5EF4-FFF2-40B4-BE49-F238E27FC236}">
                <a16:creationId xmlns:a16="http://schemas.microsoft.com/office/drawing/2014/main" id="{CB4FB7FD-CED9-4283-BE20-5FFDBC6FB769}"/>
              </a:ext>
            </a:extLst>
          </p:cNvPr>
          <p:cNvSpPr txBox="1"/>
          <p:nvPr userDrawn="1"/>
        </p:nvSpPr>
        <p:spPr>
          <a:xfrm>
            <a:off x="12489352" y="3629867"/>
            <a:ext cx="436017" cy="307777"/>
          </a:xfrm>
          <a:prstGeom prst="rect">
            <a:avLst/>
          </a:prstGeom>
          <a:noFill/>
        </p:spPr>
        <p:txBody>
          <a:bodyPr wrap="none" lIns="0" tIns="0" rIns="0" bIns="0" rtlCol="0">
            <a:spAutoFit/>
          </a:bodyPr>
          <a:lstStyle/>
          <a:p>
            <a:pPr marL="0" algn="l" defTabSz="914400" rtl="0" eaLnBrk="1" latinLnBrk="0" hangingPunct="1"/>
            <a:r>
              <a:rPr lang="en-US" sz="1000" kern="1200" dirty="0">
                <a:solidFill>
                  <a:schemeClr val="bg1">
                    <a:lumMod val="65000"/>
                  </a:schemeClr>
                </a:solidFill>
                <a:latin typeface="+mj-lt"/>
                <a:ea typeface="+mn-ea"/>
                <a:cs typeface="+mn-cs"/>
              </a:rPr>
              <a:t>Content</a:t>
            </a:r>
            <a:br>
              <a:rPr lang="en-US" sz="1000" kern="1200" dirty="0">
                <a:solidFill>
                  <a:schemeClr val="bg1">
                    <a:lumMod val="65000"/>
                  </a:schemeClr>
                </a:solidFill>
                <a:latin typeface="+mj-lt"/>
                <a:ea typeface="+mn-ea"/>
                <a:cs typeface="+mn-cs"/>
              </a:rPr>
            </a:br>
            <a:r>
              <a:rPr lang="en-US" sz="1000" kern="1200" dirty="0">
                <a:solidFill>
                  <a:schemeClr val="bg1">
                    <a:lumMod val="65000"/>
                  </a:schemeClr>
                </a:solidFill>
                <a:latin typeface="+mj-lt"/>
                <a:ea typeface="+mn-ea"/>
                <a:cs typeface="+mn-cs"/>
              </a:rPr>
              <a:t>area</a:t>
            </a:r>
          </a:p>
        </p:txBody>
      </p:sp>
      <p:cxnSp>
        <p:nvCxnSpPr>
          <p:cNvPr id="22" name="Straight Connector 21">
            <a:extLst>
              <a:ext uri="{FF2B5EF4-FFF2-40B4-BE49-F238E27FC236}">
                <a16:creationId xmlns:a16="http://schemas.microsoft.com/office/drawing/2014/main" id="{B6B1C10B-69AA-477E-94FC-A37243E08CFD}"/>
              </a:ext>
            </a:extLst>
          </p:cNvPr>
          <p:cNvCxnSpPr>
            <a:cxnSpLocks/>
          </p:cNvCxnSpPr>
          <p:nvPr userDrawn="1"/>
        </p:nvCxnSpPr>
        <p:spPr>
          <a:xfrm>
            <a:off x="12335461" y="6440488"/>
            <a:ext cx="68541"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DE5B1274-C41D-4AF0-9BA6-C18714F9F8B1}"/>
              </a:ext>
            </a:extLst>
          </p:cNvPr>
          <p:cNvCxnSpPr>
            <a:cxnSpLocks/>
          </p:cNvCxnSpPr>
          <p:nvPr userDrawn="1"/>
        </p:nvCxnSpPr>
        <p:spPr>
          <a:xfrm>
            <a:off x="12335461" y="1193799"/>
            <a:ext cx="68541"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2E2F7AF6-B706-4153-AF2C-F3C2817BCF83}"/>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393211" y="6578475"/>
            <a:ext cx="566928" cy="147351"/>
          </a:xfrm>
          <a:prstGeom prst="rect">
            <a:avLst/>
          </a:prstGeom>
        </p:spPr>
      </p:pic>
    </p:spTree>
  </p:cSld>
  <p:clrMap bg1="lt1" tx1="dk1" bg2="lt2" tx2="dk2" accent1="accent1" accent2="accent2" accent3="accent3" accent4="accent4" accent5="accent5" accent6="accent6" hlink="hlink" folHlink="folHlink"/>
  <p:sldLayoutIdLst>
    <p:sldLayoutId id="2147483662" r:id="rId1"/>
    <p:sldLayoutId id="2147483677" r:id="rId2"/>
    <p:sldLayoutId id="2147483687" r:id="rId3"/>
    <p:sldLayoutId id="2147483688" r:id="rId4"/>
    <p:sldLayoutId id="2147483689" r:id="rId5"/>
    <p:sldLayoutId id="2147483658" r:id="rId6"/>
    <p:sldLayoutId id="2147483676" r:id="rId7"/>
    <p:sldLayoutId id="2147483690" r:id="rId8"/>
    <p:sldLayoutId id="2147483691" r:id="rId9"/>
    <p:sldLayoutId id="2147483692" r:id="rId10"/>
    <p:sldLayoutId id="2147483685" r:id="rId11"/>
    <p:sldLayoutId id="2147483705" r:id="rId12"/>
    <p:sldLayoutId id="2147483706" r:id="rId13"/>
    <p:sldLayoutId id="2147483707" r:id="rId14"/>
    <p:sldLayoutId id="2147483708" r:id="rId15"/>
    <p:sldLayoutId id="2147483710" r:id="rId16"/>
    <p:sldLayoutId id="2147483711" r:id="rId17"/>
    <p:sldLayoutId id="2147483712" r:id="rId18"/>
  </p:sldLayoutIdLst>
  <p:hf sldNum="0" hdr="0" ftr="0" dt="0"/>
  <p:txStyles>
    <p:titleStyle>
      <a:lvl1pPr algn="l" defTabSz="1088291" rtl="0" eaLnBrk="1" latinLnBrk="0" hangingPunct="1">
        <a:spcBef>
          <a:spcPct val="0"/>
        </a:spcBef>
        <a:buNone/>
        <a:defRPr sz="2800" b="0" i="0" u="none" kern="1200">
          <a:solidFill>
            <a:srgbClr val="EB1000"/>
          </a:solidFill>
          <a:latin typeface="+mj-lt"/>
          <a:ea typeface="+mj-ea"/>
          <a:cs typeface="+mj-cs"/>
        </a:defRPr>
      </a:lvl1pPr>
    </p:titleStyle>
    <p:bodyStyle>
      <a:lvl1pPr marL="274638" indent="-265113" algn="l" defTabSz="1088291" rtl="0" eaLnBrk="1" latinLnBrk="0" hangingPunct="1">
        <a:spcBef>
          <a:spcPts val="714"/>
        </a:spcBef>
        <a:buClr>
          <a:schemeClr val="tx1"/>
        </a:buClr>
        <a:buSzPct val="70000"/>
        <a:buFont typeface="Wingdings" pitchFamily="2" charset="2"/>
        <a:buChar char="§"/>
        <a:defRPr sz="2200" kern="1200">
          <a:solidFill>
            <a:schemeClr val="tx1"/>
          </a:solidFill>
          <a:latin typeface="+mn-lt"/>
          <a:ea typeface="+mn-ea"/>
          <a:cs typeface="+mn-cs"/>
        </a:defRPr>
      </a:lvl1pPr>
      <a:lvl2pPr marL="551703" indent="-275852" algn="l" defTabSz="1088291" rtl="0" eaLnBrk="1" latinLnBrk="0" hangingPunct="1">
        <a:spcBef>
          <a:spcPts val="714"/>
        </a:spcBef>
        <a:buClr>
          <a:schemeClr val="tx1"/>
        </a:buClr>
        <a:buSzPct val="70000"/>
        <a:buFont typeface="Wingdings" pitchFamily="2" charset="2"/>
        <a:buChar char="§"/>
        <a:defRPr sz="2000" kern="1200">
          <a:solidFill>
            <a:schemeClr val="tx1"/>
          </a:solidFill>
          <a:latin typeface="+mn-lt"/>
          <a:ea typeface="+mn-ea"/>
          <a:cs typeface="+mn-cs"/>
        </a:defRPr>
      </a:lvl2pPr>
      <a:lvl3pPr marL="751979" indent="-200276" algn="l" defTabSz="1088291" rtl="0" eaLnBrk="1" latinLnBrk="0" hangingPunct="1">
        <a:spcBef>
          <a:spcPts val="714"/>
        </a:spcBef>
        <a:buClr>
          <a:schemeClr val="tx1"/>
        </a:buClr>
        <a:buSzPct val="70000"/>
        <a:buFont typeface="Wingdings" pitchFamily="2" charset="2"/>
        <a:buChar char="§"/>
        <a:defRPr sz="1800" kern="1200">
          <a:solidFill>
            <a:schemeClr val="tx1"/>
          </a:solidFill>
          <a:latin typeface="+mn-lt"/>
          <a:ea typeface="+mn-ea"/>
          <a:cs typeface="+mn-cs"/>
        </a:defRPr>
      </a:lvl3pPr>
      <a:lvl4pPr marL="950366" indent="-198387" algn="l" defTabSz="1088291" rtl="0" eaLnBrk="1" latinLnBrk="0" hangingPunct="1">
        <a:spcBef>
          <a:spcPts val="714"/>
        </a:spcBef>
        <a:buClr>
          <a:schemeClr val="tx1"/>
        </a:buClr>
        <a:buSzPct val="70000"/>
        <a:buFont typeface="Wingdings" pitchFamily="2" charset="2"/>
        <a:buChar char="§"/>
        <a:defRPr sz="1800" kern="1200">
          <a:solidFill>
            <a:schemeClr val="tx1"/>
          </a:solidFill>
          <a:latin typeface="+mn-lt"/>
          <a:ea typeface="+mn-ea"/>
          <a:cs typeface="+mn-cs"/>
        </a:defRPr>
      </a:lvl4pPr>
      <a:lvl5pPr marL="1088291" indent="-137926" algn="l" defTabSz="1088291" rtl="0" eaLnBrk="1" latinLnBrk="0" hangingPunct="1">
        <a:spcBef>
          <a:spcPts val="714"/>
        </a:spcBef>
        <a:buClr>
          <a:schemeClr val="tx1"/>
        </a:buClr>
        <a:buSzPct val="70000"/>
        <a:buFont typeface="Wingdings" pitchFamily="2" charset="2"/>
        <a:buChar char="§"/>
        <a:defRPr sz="1400" kern="1200">
          <a:solidFill>
            <a:schemeClr val="tx1"/>
          </a:solidFill>
          <a:latin typeface="+mn-lt"/>
          <a:ea typeface="+mn-ea"/>
          <a:cs typeface="+mn-cs"/>
        </a:defRPr>
      </a:lvl5pPr>
      <a:lvl6pPr marL="299279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944"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08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235"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291" rtl="0" eaLnBrk="1" latinLnBrk="0" hangingPunct="1">
        <a:defRPr sz="2100" kern="1200">
          <a:solidFill>
            <a:schemeClr val="tx1"/>
          </a:solidFill>
          <a:latin typeface="+mn-lt"/>
          <a:ea typeface="+mn-ea"/>
          <a:cs typeface="+mn-cs"/>
        </a:defRPr>
      </a:lvl1pPr>
      <a:lvl2pPr marL="544145" algn="l" defTabSz="1088291" rtl="0" eaLnBrk="1" latinLnBrk="0" hangingPunct="1">
        <a:defRPr sz="2100" kern="1200">
          <a:solidFill>
            <a:schemeClr val="tx1"/>
          </a:solidFill>
          <a:latin typeface="+mn-lt"/>
          <a:ea typeface="+mn-ea"/>
          <a:cs typeface="+mn-cs"/>
        </a:defRPr>
      </a:lvl2pPr>
      <a:lvl3pPr marL="1088291" algn="l" defTabSz="1088291" rtl="0" eaLnBrk="1" latinLnBrk="0" hangingPunct="1">
        <a:defRPr sz="2100" kern="1200">
          <a:solidFill>
            <a:schemeClr val="tx1"/>
          </a:solidFill>
          <a:latin typeface="+mn-lt"/>
          <a:ea typeface="+mn-ea"/>
          <a:cs typeface="+mn-cs"/>
        </a:defRPr>
      </a:lvl3pPr>
      <a:lvl4pPr marL="1632436" algn="l" defTabSz="1088291" rtl="0" eaLnBrk="1" latinLnBrk="0" hangingPunct="1">
        <a:defRPr sz="2100" kern="1200">
          <a:solidFill>
            <a:schemeClr val="tx1"/>
          </a:solidFill>
          <a:latin typeface="+mn-lt"/>
          <a:ea typeface="+mn-ea"/>
          <a:cs typeface="+mn-cs"/>
        </a:defRPr>
      </a:lvl4pPr>
      <a:lvl5pPr marL="2176581" algn="l" defTabSz="1088291" rtl="0" eaLnBrk="1" latinLnBrk="0" hangingPunct="1">
        <a:defRPr sz="2100" kern="1200">
          <a:solidFill>
            <a:schemeClr val="tx1"/>
          </a:solidFill>
          <a:latin typeface="+mn-lt"/>
          <a:ea typeface="+mn-ea"/>
          <a:cs typeface="+mn-cs"/>
        </a:defRPr>
      </a:lvl5pPr>
      <a:lvl6pPr marL="2720726" algn="l" defTabSz="1088291" rtl="0" eaLnBrk="1" latinLnBrk="0" hangingPunct="1">
        <a:defRPr sz="2100" kern="1200">
          <a:solidFill>
            <a:schemeClr val="tx1"/>
          </a:solidFill>
          <a:latin typeface="+mn-lt"/>
          <a:ea typeface="+mn-ea"/>
          <a:cs typeface="+mn-cs"/>
        </a:defRPr>
      </a:lvl6pPr>
      <a:lvl7pPr marL="3264872" algn="l" defTabSz="1088291" rtl="0" eaLnBrk="1" latinLnBrk="0" hangingPunct="1">
        <a:defRPr sz="2100" kern="1200">
          <a:solidFill>
            <a:schemeClr val="tx1"/>
          </a:solidFill>
          <a:latin typeface="+mn-lt"/>
          <a:ea typeface="+mn-ea"/>
          <a:cs typeface="+mn-cs"/>
        </a:defRPr>
      </a:lvl7pPr>
      <a:lvl8pPr marL="3809017" algn="l" defTabSz="1088291" rtl="0" eaLnBrk="1" latinLnBrk="0" hangingPunct="1">
        <a:defRPr sz="2100" kern="1200">
          <a:solidFill>
            <a:schemeClr val="tx1"/>
          </a:solidFill>
          <a:latin typeface="+mn-lt"/>
          <a:ea typeface="+mn-ea"/>
          <a:cs typeface="+mn-cs"/>
        </a:defRPr>
      </a:lvl8pPr>
      <a:lvl9pPr marL="4353162" algn="l" defTabSz="1088291"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9" userDrawn="1">
          <p15:clr>
            <a:srgbClr val="5ACBF0"/>
          </p15:clr>
        </p15:guide>
        <p15:guide id="2" pos="4032" userDrawn="1">
          <p15:clr>
            <a:srgbClr val="FDE53C"/>
          </p15:clr>
        </p15:guide>
        <p15:guide id="3" pos="3651" userDrawn="1">
          <p15:clr>
            <a:srgbClr val="FDE53C"/>
          </p15:clr>
        </p15:guide>
        <p15:guide id="4" pos="5758" userDrawn="1">
          <p15:clr>
            <a:srgbClr val="5ACBF0"/>
          </p15:clr>
        </p15:guide>
        <p15:guide id="5" pos="7488" userDrawn="1">
          <p15:clr>
            <a:srgbClr val="A4A3A4"/>
          </p15:clr>
        </p15:guide>
        <p15:guide id="6" pos="1919" userDrawn="1">
          <p15:clr>
            <a:srgbClr val="5ACBF0"/>
          </p15:clr>
        </p15:guide>
        <p15:guide id="7" pos="191" userDrawn="1">
          <p15:clr>
            <a:srgbClr val="A4A3A4"/>
          </p15:clr>
        </p15:guide>
        <p15:guide id="8" orient="horz" pos="2405" userDrawn="1">
          <p15:clr>
            <a:srgbClr val="5ACBF0"/>
          </p15:clr>
        </p15:guide>
        <p15:guide id="11" orient="horz" pos="751" userDrawn="1">
          <p15:clr>
            <a:srgbClr val="F26B43"/>
          </p15:clr>
        </p15:guide>
        <p15:guide id="14" orient="horz" pos="4057" userDrawn="1">
          <p15:clr>
            <a:srgbClr val="F26B43"/>
          </p15:clr>
        </p15:guide>
        <p15:guide id="15" orient="horz" pos="3924" userDrawn="1">
          <p15:clr>
            <a:srgbClr val="A4A3A4"/>
          </p15:clr>
        </p15:guide>
        <p15:guide id="17" pos="2560" userDrawn="1">
          <p15:clr>
            <a:srgbClr val="C35EA4"/>
          </p15:clr>
        </p15:guide>
        <p15:guide id="18" pos="5120" userDrawn="1">
          <p15:clr>
            <a:srgbClr val="C35EA4"/>
          </p15:clr>
        </p15:guide>
        <p15:guide id="19" pos="1728" userDrawn="1">
          <p15:clr>
            <a:srgbClr val="FDE53C"/>
          </p15:clr>
        </p15:guide>
        <p15:guide id="20" pos="2106" userDrawn="1">
          <p15:clr>
            <a:srgbClr val="FDE53C"/>
          </p15:clr>
        </p15:guide>
        <p15:guide id="21" pos="2369" userDrawn="1">
          <p15:clr>
            <a:srgbClr val="9FCC3B"/>
          </p15:clr>
        </p15:guide>
        <p15:guide id="22" pos="2749" userDrawn="1">
          <p15:clr>
            <a:srgbClr val="9FCC3B"/>
          </p15:clr>
        </p15:guide>
        <p15:guide id="23" pos="4925" userDrawn="1">
          <p15:clr>
            <a:srgbClr val="9FCC3B"/>
          </p15:clr>
        </p15:guide>
        <p15:guide id="24" pos="5309" userDrawn="1">
          <p15:clr>
            <a:srgbClr val="9FCC3B"/>
          </p15:clr>
        </p15:guide>
        <p15:guide id="25" pos="5565" userDrawn="1">
          <p15:clr>
            <a:srgbClr val="FDE53C"/>
          </p15:clr>
        </p15:guide>
        <p15:guide id="26" pos="5947" userDrawn="1">
          <p15:clr>
            <a:srgbClr val="FDE53C"/>
          </p15:clr>
        </p15:guide>
        <p15:guide id="27" orient="horz" pos="2594" userDrawn="1">
          <p15:clr>
            <a:srgbClr val="FDE53C"/>
          </p15:clr>
        </p15:guide>
        <p15:guide id="28" orient="horz" pos="2208" userDrawn="1">
          <p15:clr>
            <a:srgbClr val="FDE53C"/>
          </p15:clr>
        </p15:guide>
        <p15:guide id="35" orient="horz" pos="1053" userDrawn="1">
          <p15:clr>
            <a:srgbClr val="FDE53C"/>
          </p15:clr>
        </p15:guide>
        <p15:guide id="36" orient="horz" pos="894"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towardsdatascience.com/latent-dirichlet-allocation-lda-9d1cd064ffa2"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hyperlink" Target="https://towardsdatascience.com/topic-modeling-and-latent-dirichlet-allocation-in-python-9bf156893c24" TargetMode="External"/><Relationship Id="rId5" Type="http://schemas.openxmlformats.org/officeDocument/2006/relationships/hyperlink" Target="https://www.analyticsvidhya.com/blog/2021/05/topic-modelling-in-natural-language-processing/" TargetMode="External"/><Relationship Id="rId4" Type="http://schemas.openxmlformats.org/officeDocument/2006/relationships/hyperlink" Target="https://www.geeksforgeeks.org/latent-dirichlet-allocatio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64304C-DDFE-4EBD-99BA-E26635B48276}"/>
              </a:ext>
            </a:extLst>
          </p:cNvPr>
          <p:cNvSpPr>
            <a:spLocks noGrp="1"/>
          </p:cNvSpPr>
          <p:nvPr>
            <p:ph type="ctrTitle"/>
          </p:nvPr>
        </p:nvSpPr>
        <p:spPr>
          <a:xfrm>
            <a:off x="2203703" y="2798064"/>
            <a:ext cx="7139079" cy="1216152"/>
          </a:xfrm>
        </p:spPr>
        <p:txBody>
          <a:bodyPr/>
          <a:lstStyle/>
          <a:p>
            <a:r>
              <a:rPr lang="en-IN" dirty="0"/>
              <a:t>LDA Based Recommendation Engine for Adobe Learning Manager</a:t>
            </a:r>
          </a:p>
        </p:txBody>
      </p:sp>
      <p:sp>
        <p:nvSpPr>
          <p:cNvPr id="9" name="Subtitle 8">
            <a:extLst>
              <a:ext uri="{FF2B5EF4-FFF2-40B4-BE49-F238E27FC236}">
                <a16:creationId xmlns:a16="http://schemas.microsoft.com/office/drawing/2014/main" id="{7F4B5F2D-CCEA-4B74-B83A-5BD8FCC190BE}"/>
              </a:ext>
            </a:extLst>
          </p:cNvPr>
          <p:cNvSpPr>
            <a:spLocks noGrp="1"/>
          </p:cNvSpPr>
          <p:nvPr>
            <p:ph type="subTitle" idx="1"/>
          </p:nvPr>
        </p:nvSpPr>
        <p:spPr>
          <a:xfrm>
            <a:off x="2203704" y="4123943"/>
            <a:ext cx="5907024" cy="1467560"/>
          </a:xfrm>
        </p:spPr>
        <p:txBody>
          <a:bodyPr/>
          <a:lstStyle/>
          <a:p>
            <a:r>
              <a:rPr lang="en-IN" sz="2400" dirty="0"/>
              <a:t>Code Raiders</a:t>
            </a:r>
          </a:p>
          <a:p>
            <a:pPr marL="342900" indent="-342900">
              <a:buFont typeface="Arial" panose="020B0604020202020204" pitchFamily="34" charset="0"/>
              <a:buChar char="•"/>
            </a:pPr>
            <a:r>
              <a:rPr lang="en-IN" sz="2400" dirty="0"/>
              <a:t>Ishan Sinha</a:t>
            </a:r>
          </a:p>
          <a:p>
            <a:pPr marL="342900" indent="-342900">
              <a:buFont typeface="Arial" panose="020B0604020202020204" pitchFamily="34" charset="0"/>
              <a:buChar char="•"/>
            </a:pPr>
            <a:r>
              <a:rPr lang="en-IN" sz="2400" dirty="0"/>
              <a:t>Chirag Kulshreshtha</a:t>
            </a:r>
          </a:p>
        </p:txBody>
      </p:sp>
    </p:spTree>
    <p:extLst>
      <p:ext uri="{BB962C8B-B14F-4D97-AF65-F5344CB8AC3E}">
        <p14:creationId xmlns:p14="http://schemas.microsoft.com/office/powerpoint/2010/main" val="126089968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64304C-DDFE-4EBD-99BA-E26635B48276}"/>
              </a:ext>
            </a:extLst>
          </p:cNvPr>
          <p:cNvSpPr>
            <a:spLocks noGrp="1"/>
          </p:cNvSpPr>
          <p:nvPr>
            <p:ph type="ctrTitle"/>
          </p:nvPr>
        </p:nvSpPr>
        <p:spPr>
          <a:xfrm>
            <a:off x="2203703" y="2798064"/>
            <a:ext cx="7139079" cy="1216152"/>
          </a:xfrm>
        </p:spPr>
        <p:txBody>
          <a:bodyPr/>
          <a:lstStyle/>
          <a:p>
            <a:r>
              <a:rPr lang="en-IN" dirty="0"/>
              <a:t>Thank You</a:t>
            </a:r>
          </a:p>
        </p:txBody>
      </p:sp>
    </p:spTree>
    <p:extLst>
      <p:ext uri="{BB962C8B-B14F-4D97-AF65-F5344CB8AC3E}">
        <p14:creationId xmlns:p14="http://schemas.microsoft.com/office/powerpoint/2010/main" val="63578279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713EB5-F397-6B47-9865-F5D55E388FBC}"/>
              </a:ext>
            </a:extLst>
          </p:cNvPr>
          <p:cNvGraphicFramePr>
            <a:graphicFrameLocks noChangeAspect="1"/>
          </p:cNvGraphicFramePr>
          <p:nvPr>
            <p:custDataLst>
              <p:tags r:id="rId1"/>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21713EB5-F397-6B47-9865-F5D55E388FBC}"/>
                          </a:ext>
                        </a:extLst>
                      </p:cNvPr>
                      <p:cNvPicPr/>
                      <p:nvPr/>
                    </p:nvPicPr>
                    <p:blipFill>
                      <a:blip r:embed="rId6"/>
                      <a:stretch>
                        <a:fillRect/>
                      </a:stretch>
                    </p:blipFill>
                    <p:spPr>
                      <a:xfrm>
                        <a:off x="1587" y="2481"/>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C298571-C90B-7E44-BEFD-1D6232EE916C}"/>
              </a:ext>
            </a:extLst>
          </p:cNvPr>
          <p:cNvSpPr/>
          <p:nvPr>
            <p:custDataLst>
              <p:tags r:id="rId2"/>
            </p:custDataLst>
          </p:nvPr>
        </p:nvSpPr>
        <p:spPr>
          <a:xfrm>
            <a:off x="-1" y="893"/>
            <a:ext cx="158709" cy="1587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399" b="1" dirty="0">
              <a:latin typeface="Georgia" panose="02040502050405020303" pitchFamily="18" charset="0"/>
              <a:ea typeface="+mj-ea"/>
              <a:sym typeface="Georgia" panose="02040502050405020303" pitchFamily="18" charset="0"/>
            </a:endParaRPr>
          </a:p>
        </p:txBody>
      </p:sp>
      <p:sp>
        <p:nvSpPr>
          <p:cNvPr id="6" name="Title 5">
            <a:extLst>
              <a:ext uri="{FF2B5EF4-FFF2-40B4-BE49-F238E27FC236}">
                <a16:creationId xmlns:a16="http://schemas.microsoft.com/office/drawing/2014/main" id="{CAC8A6B3-C627-4C10-811F-C4598CF58FD2}"/>
              </a:ext>
            </a:extLst>
          </p:cNvPr>
          <p:cNvSpPr>
            <a:spLocks noGrp="1"/>
          </p:cNvSpPr>
          <p:nvPr>
            <p:ph type="ctrTitle"/>
          </p:nvPr>
        </p:nvSpPr>
        <p:spPr>
          <a:xfrm>
            <a:off x="795528" y="609603"/>
            <a:ext cx="8010144" cy="585216"/>
          </a:xfrm>
        </p:spPr>
        <p:txBody>
          <a:bodyPr/>
          <a:lstStyle/>
          <a:p>
            <a:r>
              <a:rPr lang="en-US" sz="2800" b="1" dirty="0"/>
              <a:t>Index</a:t>
            </a:r>
          </a:p>
        </p:txBody>
      </p:sp>
      <p:sp>
        <p:nvSpPr>
          <p:cNvPr id="12" name="TextBox 11">
            <a:extLst>
              <a:ext uri="{FF2B5EF4-FFF2-40B4-BE49-F238E27FC236}">
                <a16:creationId xmlns:a16="http://schemas.microsoft.com/office/drawing/2014/main" id="{0E6846BF-5C31-4E29-A8D4-3365775B7A6B}"/>
              </a:ext>
            </a:extLst>
          </p:cNvPr>
          <p:cNvSpPr txBox="1"/>
          <p:nvPr/>
        </p:nvSpPr>
        <p:spPr>
          <a:xfrm>
            <a:off x="1113752" y="1370276"/>
            <a:ext cx="8212016" cy="335906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400" b="1" dirty="0"/>
              <a:t>Objective</a:t>
            </a:r>
          </a:p>
          <a:p>
            <a:pPr marL="285750" indent="-285750">
              <a:lnSpc>
                <a:spcPct val="150000"/>
              </a:lnSpc>
              <a:buFont typeface="Arial" panose="020B0604020202020204" pitchFamily="34" charset="0"/>
              <a:buChar char="•"/>
            </a:pPr>
            <a:r>
              <a:rPr lang="en-US" sz="2400" b="1" dirty="0"/>
              <a:t>Proposed Solution</a:t>
            </a:r>
          </a:p>
          <a:p>
            <a:pPr marL="285750" indent="-285750">
              <a:lnSpc>
                <a:spcPct val="150000"/>
              </a:lnSpc>
              <a:buFont typeface="Arial" panose="020B0604020202020204" pitchFamily="34" charset="0"/>
              <a:buChar char="•"/>
            </a:pPr>
            <a:r>
              <a:rPr lang="en-US" sz="2400" b="1" dirty="0"/>
              <a:t>Topic Modeling &amp; LDA</a:t>
            </a:r>
          </a:p>
          <a:p>
            <a:pPr marL="285750" indent="-285750">
              <a:lnSpc>
                <a:spcPct val="150000"/>
              </a:lnSpc>
              <a:buFont typeface="Arial" panose="020B0604020202020204" pitchFamily="34" charset="0"/>
              <a:buChar char="•"/>
            </a:pPr>
            <a:r>
              <a:rPr lang="en-US" sz="2400" b="1" dirty="0"/>
              <a:t>Steps Performed for model</a:t>
            </a:r>
          </a:p>
          <a:p>
            <a:pPr marL="285750" indent="-285750">
              <a:lnSpc>
                <a:spcPct val="150000"/>
              </a:lnSpc>
              <a:buFont typeface="Arial" panose="020B0604020202020204" pitchFamily="34" charset="0"/>
              <a:buChar char="•"/>
            </a:pPr>
            <a:r>
              <a:rPr lang="en-US" sz="2400" b="1" dirty="0"/>
              <a:t>Steps to execute code</a:t>
            </a:r>
          </a:p>
          <a:p>
            <a:pPr marL="285750" indent="-285750">
              <a:lnSpc>
                <a:spcPct val="150000"/>
              </a:lnSpc>
              <a:buFont typeface="Arial" panose="020B0604020202020204" pitchFamily="34" charset="0"/>
              <a:buChar char="•"/>
            </a:pPr>
            <a:endParaRPr lang="en-US" sz="2400" b="1" dirty="0"/>
          </a:p>
        </p:txBody>
      </p:sp>
    </p:spTree>
    <p:extLst>
      <p:ext uri="{BB962C8B-B14F-4D97-AF65-F5344CB8AC3E}">
        <p14:creationId xmlns:p14="http://schemas.microsoft.com/office/powerpoint/2010/main" val="540761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CF491-A07F-447F-9171-3B7682A6CF15}"/>
              </a:ext>
            </a:extLst>
          </p:cNvPr>
          <p:cNvSpPr>
            <a:spLocks noGrp="1"/>
          </p:cNvSpPr>
          <p:nvPr>
            <p:ph type="title"/>
          </p:nvPr>
        </p:nvSpPr>
        <p:spPr/>
        <p:txBody>
          <a:bodyPr/>
          <a:lstStyle/>
          <a:p>
            <a:r>
              <a:rPr lang="en-US" b="1" dirty="0"/>
              <a:t>Objective</a:t>
            </a:r>
          </a:p>
        </p:txBody>
      </p:sp>
      <p:sp>
        <p:nvSpPr>
          <p:cNvPr id="3" name="Content Placeholder 6">
            <a:extLst>
              <a:ext uri="{FF2B5EF4-FFF2-40B4-BE49-F238E27FC236}">
                <a16:creationId xmlns:a16="http://schemas.microsoft.com/office/drawing/2014/main" id="{68E56145-9B89-DA36-CE48-521B19D32A43}"/>
              </a:ext>
            </a:extLst>
          </p:cNvPr>
          <p:cNvSpPr>
            <a:spLocks noGrp="1"/>
          </p:cNvSpPr>
          <p:nvPr>
            <p:ph idx="1"/>
          </p:nvPr>
        </p:nvSpPr>
        <p:spPr>
          <a:xfrm>
            <a:off x="304721" y="962025"/>
            <a:ext cx="11579384" cy="5396734"/>
          </a:xfrm>
        </p:spPr>
        <p:txBody>
          <a:bodyPr/>
          <a:lstStyle/>
          <a:p>
            <a:pPr>
              <a:lnSpc>
                <a:spcPct val="200000"/>
              </a:lnSpc>
              <a:buFont typeface="Arial" panose="020B0604020202020204" pitchFamily="34" charset="0"/>
              <a:buChar char="•"/>
            </a:pPr>
            <a:r>
              <a:rPr lang="en-IN" sz="2000" dirty="0">
                <a:latin typeface="Adobe Clean" panose="020B0503020404020204"/>
              </a:rPr>
              <a:t>Building a good recommendation engine that can help ALM users in recommending good courses (or content) based on their history.</a:t>
            </a:r>
          </a:p>
          <a:p>
            <a:pPr>
              <a:lnSpc>
                <a:spcPct val="200000"/>
              </a:lnSpc>
              <a:buFont typeface="Arial" panose="020B0604020202020204" pitchFamily="34" charset="0"/>
              <a:buChar char="•"/>
            </a:pPr>
            <a:r>
              <a:rPr lang="en-IN" sz="2000" dirty="0">
                <a:latin typeface="Adobe Clean" panose="020B0503020404020204"/>
              </a:rPr>
              <a:t>A visitor might be on ALM site &amp; he logged in to ALM and browsed several topics.</a:t>
            </a:r>
          </a:p>
          <a:p>
            <a:pPr>
              <a:lnSpc>
                <a:spcPct val="200000"/>
              </a:lnSpc>
              <a:buFont typeface="Arial" panose="020B0604020202020204" pitchFamily="34" charset="0"/>
              <a:buChar char="•"/>
            </a:pPr>
            <a:r>
              <a:rPr lang="en-IN" sz="2000" dirty="0">
                <a:latin typeface="Adobe Clean" panose="020B0503020404020204"/>
              </a:rPr>
              <a:t>Visitor moves from one page to another on ALM site. We can collect his information and use a statistical model (or Machine Learning model) to predict which courses (or course categories) can be best suited for him based on web pages he has visited.</a:t>
            </a:r>
          </a:p>
          <a:p>
            <a:pPr marL="9525" indent="0">
              <a:lnSpc>
                <a:spcPct val="200000"/>
              </a:lnSpc>
              <a:buNone/>
            </a:pPr>
            <a:endParaRPr lang="en-IN" sz="2000" dirty="0">
              <a:latin typeface="Adobe Clean" panose="020B0503020404020204"/>
            </a:endParaRPr>
          </a:p>
        </p:txBody>
      </p:sp>
    </p:spTree>
    <p:extLst>
      <p:ext uri="{BB962C8B-B14F-4D97-AF65-F5344CB8AC3E}">
        <p14:creationId xmlns:p14="http://schemas.microsoft.com/office/powerpoint/2010/main" val="29430833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AE2701A-ED69-4FD8-AE33-5CE23CC0145B}"/>
              </a:ext>
            </a:extLst>
          </p:cNvPr>
          <p:cNvSpPr>
            <a:spLocks noGrp="1"/>
          </p:cNvSpPr>
          <p:nvPr>
            <p:ph type="title"/>
          </p:nvPr>
        </p:nvSpPr>
        <p:spPr/>
        <p:txBody>
          <a:bodyPr/>
          <a:lstStyle/>
          <a:p>
            <a:r>
              <a:rPr lang="en-IN" b="1" dirty="0"/>
              <a:t>Proposed Solution</a:t>
            </a:r>
          </a:p>
        </p:txBody>
      </p:sp>
      <p:sp>
        <p:nvSpPr>
          <p:cNvPr id="7" name="Content Placeholder 6">
            <a:extLst>
              <a:ext uri="{FF2B5EF4-FFF2-40B4-BE49-F238E27FC236}">
                <a16:creationId xmlns:a16="http://schemas.microsoft.com/office/drawing/2014/main" id="{C1474D69-FE17-4001-A64A-35CE2B1F295A}"/>
              </a:ext>
            </a:extLst>
          </p:cNvPr>
          <p:cNvSpPr>
            <a:spLocks noGrp="1"/>
          </p:cNvSpPr>
          <p:nvPr>
            <p:ph idx="1"/>
          </p:nvPr>
        </p:nvSpPr>
        <p:spPr>
          <a:xfrm>
            <a:off x="304721" y="962025"/>
            <a:ext cx="11579384" cy="5396734"/>
          </a:xfrm>
        </p:spPr>
        <p:txBody>
          <a:bodyPr/>
          <a:lstStyle/>
          <a:p>
            <a:pPr>
              <a:lnSpc>
                <a:spcPct val="200000"/>
              </a:lnSpc>
              <a:buFont typeface="Arial" panose="020B0604020202020204" pitchFamily="34" charset="0"/>
              <a:buChar char="•"/>
            </a:pPr>
            <a:r>
              <a:rPr lang="en-IN" sz="2000" dirty="0">
                <a:latin typeface="Adobe Clean" panose="020B0503020404020204"/>
              </a:rPr>
              <a:t>A visitor on ALM website will be browsing pages &amp; we can collect many pointers around his browsing </a:t>
            </a:r>
            <a:r>
              <a:rPr lang="en-IN" sz="2000" dirty="0" err="1">
                <a:latin typeface="Adobe Clean" panose="020B0503020404020204"/>
              </a:rPr>
              <a:t>behavior</a:t>
            </a:r>
            <a:r>
              <a:rPr lang="en-IN" sz="2000" dirty="0">
                <a:latin typeface="Adobe Clean" panose="020B0503020404020204"/>
              </a:rPr>
              <a:t> like Page titles, Page/ Course Descriptions, Region, Device Type etc.</a:t>
            </a:r>
          </a:p>
          <a:p>
            <a:pPr>
              <a:lnSpc>
                <a:spcPct val="200000"/>
              </a:lnSpc>
              <a:buFont typeface="Arial" panose="020B0604020202020204" pitchFamily="34" charset="0"/>
              <a:buChar char="•"/>
            </a:pPr>
            <a:r>
              <a:rPr lang="en-IN" sz="2000" dirty="0">
                <a:latin typeface="Adobe Clean" panose="020B0503020404020204"/>
              </a:rPr>
              <a:t>Now this information can be used to generate recommendations to him like which courses he can go through in the future.</a:t>
            </a:r>
          </a:p>
          <a:p>
            <a:pPr>
              <a:lnSpc>
                <a:spcPct val="200000"/>
              </a:lnSpc>
              <a:buFont typeface="Arial" panose="020B0604020202020204" pitchFamily="34" charset="0"/>
              <a:buChar char="•"/>
            </a:pPr>
            <a:r>
              <a:rPr lang="en-IN" sz="2000" dirty="0">
                <a:latin typeface="Adobe Clean" panose="020B0503020404020204"/>
              </a:rPr>
              <a:t>Latent Dirichlet allocation (LDA) is one technique widely used for topic mining in Natural Language Processing.</a:t>
            </a:r>
          </a:p>
          <a:p>
            <a:pPr>
              <a:lnSpc>
                <a:spcPct val="200000"/>
              </a:lnSpc>
              <a:buFont typeface="Arial" panose="020B0604020202020204" pitchFamily="34" charset="0"/>
              <a:buChar char="•"/>
            </a:pPr>
            <a:r>
              <a:rPr lang="en-IN" sz="2000" dirty="0">
                <a:latin typeface="Adobe Clean" panose="020B0503020404020204"/>
              </a:rPr>
              <a:t>We have utilized LDA in our solution approach for predicting courses (‘topics’ in LDA terms) based on title and description of courses.</a:t>
            </a:r>
          </a:p>
          <a:p>
            <a:pPr>
              <a:lnSpc>
                <a:spcPct val="200000"/>
              </a:lnSpc>
              <a:buFont typeface="Arial" panose="020B0604020202020204" pitchFamily="34" charset="0"/>
              <a:buChar char="•"/>
            </a:pPr>
            <a:endParaRPr lang="en-IN" sz="2000" dirty="0">
              <a:latin typeface="Adobe Clean" panose="020B0503020404020204"/>
            </a:endParaRPr>
          </a:p>
        </p:txBody>
      </p:sp>
    </p:spTree>
    <p:extLst>
      <p:ext uri="{BB962C8B-B14F-4D97-AF65-F5344CB8AC3E}">
        <p14:creationId xmlns:p14="http://schemas.microsoft.com/office/powerpoint/2010/main" val="10995311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AE2701A-ED69-4FD8-AE33-5CE23CC0145B}"/>
              </a:ext>
            </a:extLst>
          </p:cNvPr>
          <p:cNvSpPr>
            <a:spLocks noGrp="1"/>
          </p:cNvSpPr>
          <p:nvPr>
            <p:ph type="title"/>
          </p:nvPr>
        </p:nvSpPr>
        <p:spPr/>
        <p:txBody>
          <a:bodyPr/>
          <a:lstStyle/>
          <a:p>
            <a:r>
              <a:rPr lang="en-IN" b="1" dirty="0"/>
              <a:t>Topic Modelling &amp; LDA</a:t>
            </a:r>
          </a:p>
        </p:txBody>
      </p:sp>
      <p:sp>
        <p:nvSpPr>
          <p:cNvPr id="7" name="Content Placeholder 6">
            <a:extLst>
              <a:ext uri="{FF2B5EF4-FFF2-40B4-BE49-F238E27FC236}">
                <a16:creationId xmlns:a16="http://schemas.microsoft.com/office/drawing/2014/main" id="{C1474D69-FE17-4001-A64A-35CE2B1F295A}"/>
              </a:ext>
            </a:extLst>
          </p:cNvPr>
          <p:cNvSpPr>
            <a:spLocks noGrp="1"/>
          </p:cNvSpPr>
          <p:nvPr>
            <p:ph idx="1"/>
          </p:nvPr>
        </p:nvSpPr>
        <p:spPr>
          <a:xfrm>
            <a:off x="304721" y="885824"/>
            <a:ext cx="11579384" cy="5705475"/>
          </a:xfrm>
        </p:spPr>
        <p:txBody>
          <a:bodyPr/>
          <a:lstStyle/>
          <a:p>
            <a:pPr>
              <a:lnSpc>
                <a:spcPct val="200000"/>
              </a:lnSpc>
            </a:pPr>
            <a:r>
              <a:rPr lang="en-US" sz="2000" b="0" i="0" dirty="0">
                <a:solidFill>
                  <a:srgbClr val="292929"/>
                </a:solidFill>
                <a:effectLst/>
                <a:latin typeface="Adobe Clean" panose="020B0503020404020204"/>
              </a:rPr>
              <a:t>Topic modeling is a method for</a:t>
            </a:r>
            <a:r>
              <a:rPr lang="en-US" sz="2000" b="0" i="1" dirty="0">
                <a:solidFill>
                  <a:srgbClr val="292929"/>
                </a:solidFill>
                <a:effectLst/>
                <a:latin typeface="Adobe Clean" panose="020B0503020404020204"/>
              </a:rPr>
              <a:t> </a:t>
            </a:r>
            <a:r>
              <a:rPr lang="en-US" sz="2000" b="1" i="1" dirty="0">
                <a:solidFill>
                  <a:srgbClr val="292929"/>
                </a:solidFill>
                <a:effectLst/>
                <a:latin typeface="Adobe Clean" panose="020B0503020404020204"/>
              </a:rPr>
              <a:t>unsupervised</a:t>
            </a:r>
            <a:r>
              <a:rPr lang="en-US" sz="2000" b="0" i="0" dirty="0">
                <a:solidFill>
                  <a:srgbClr val="292929"/>
                </a:solidFill>
                <a:effectLst/>
                <a:latin typeface="Adobe Clean" panose="020B0503020404020204"/>
              </a:rPr>
              <a:t> classification of documents, similar to clustering on numeric data, which finds some natural groups of items (topics) even when we’re not sure what we’re looking for.</a:t>
            </a:r>
          </a:p>
          <a:p>
            <a:pPr>
              <a:lnSpc>
                <a:spcPct val="200000"/>
              </a:lnSpc>
            </a:pPr>
            <a:r>
              <a:rPr lang="en-US" sz="2000" b="0" i="0" dirty="0">
                <a:solidFill>
                  <a:srgbClr val="292929"/>
                </a:solidFill>
                <a:effectLst/>
                <a:latin typeface="Adobe Clean" panose="020B0503020404020204"/>
              </a:rPr>
              <a:t>Topic modeling provides methods for automatically organizing, understanding, searching, and summarizing large electronic archives.</a:t>
            </a:r>
            <a:endParaRPr lang="en-IN" sz="2000" b="0" i="0" dirty="0">
              <a:solidFill>
                <a:srgbClr val="292929"/>
              </a:solidFill>
              <a:effectLst/>
              <a:latin typeface="Adobe Clean" panose="020B0503020404020204"/>
            </a:endParaRPr>
          </a:p>
          <a:p>
            <a:pPr>
              <a:lnSpc>
                <a:spcPct val="200000"/>
              </a:lnSpc>
            </a:pPr>
            <a:r>
              <a:rPr lang="en-US" sz="2000" b="1" i="1" dirty="0">
                <a:solidFill>
                  <a:srgbClr val="292929"/>
                </a:solidFill>
                <a:effectLst/>
                <a:latin typeface="Adobe Clean" panose="020B0503020404020204"/>
              </a:rPr>
              <a:t>A document can be a part of multiple topics, kind of like in fuzzy clustering(soft clustering) in which each data point belongs to more than one cluster.</a:t>
            </a:r>
          </a:p>
          <a:p>
            <a:pPr>
              <a:lnSpc>
                <a:spcPct val="200000"/>
              </a:lnSpc>
            </a:pPr>
            <a:r>
              <a:rPr lang="en-US" sz="2000" dirty="0">
                <a:solidFill>
                  <a:srgbClr val="292929"/>
                </a:solidFill>
                <a:effectLst/>
                <a:latin typeface="Adobe Clean" panose="020B0503020404020204"/>
              </a:rPr>
              <a:t>LDA is one of the most popular topic modeling methods. Each document is made up of various words, and each topic also has various words belonging to it. The aim of LDA is to find topics a document belongs to, based on the words in it.</a:t>
            </a:r>
          </a:p>
          <a:p>
            <a:pPr>
              <a:lnSpc>
                <a:spcPct val="200000"/>
              </a:lnSpc>
            </a:pPr>
            <a:endParaRPr lang="en-US" sz="2000" b="1" i="1" dirty="0">
              <a:solidFill>
                <a:srgbClr val="292929"/>
              </a:solidFill>
              <a:effectLst/>
              <a:latin typeface="Adobe Clean" panose="020B0503020404020204"/>
            </a:endParaRPr>
          </a:p>
        </p:txBody>
      </p:sp>
    </p:spTree>
    <p:extLst>
      <p:ext uri="{BB962C8B-B14F-4D97-AF65-F5344CB8AC3E}">
        <p14:creationId xmlns:p14="http://schemas.microsoft.com/office/powerpoint/2010/main" val="6528815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AE2701A-ED69-4FD8-AE33-5CE23CC0145B}"/>
              </a:ext>
            </a:extLst>
          </p:cNvPr>
          <p:cNvSpPr>
            <a:spLocks noGrp="1"/>
          </p:cNvSpPr>
          <p:nvPr>
            <p:ph type="title"/>
          </p:nvPr>
        </p:nvSpPr>
        <p:spPr/>
        <p:txBody>
          <a:bodyPr/>
          <a:lstStyle/>
          <a:p>
            <a:r>
              <a:rPr lang="en-IN" b="1" dirty="0"/>
              <a:t>Topic Modelling &amp; LDA</a:t>
            </a:r>
          </a:p>
        </p:txBody>
      </p:sp>
      <p:sp>
        <p:nvSpPr>
          <p:cNvPr id="7" name="Content Placeholder 6">
            <a:extLst>
              <a:ext uri="{FF2B5EF4-FFF2-40B4-BE49-F238E27FC236}">
                <a16:creationId xmlns:a16="http://schemas.microsoft.com/office/drawing/2014/main" id="{C1474D69-FE17-4001-A64A-35CE2B1F295A}"/>
              </a:ext>
            </a:extLst>
          </p:cNvPr>
          <p:cNvSpPr>
            <a:spLocks noGrp="1"/>
          </p:cNvSpPr>
          <p:nvPr>
            <p:ph idx="1"/>
          </p:nvPr>
        </p:nvSpPr>
        <p:spPr>
          <a:xfrm>
            <a:off x="304721" y="847724"/>
            <a:ext cx="11579384" cy="5629275"/>
          </a:xfrm>
        </p:spPr>
        <p:txBody>
          <a:bodyPr/>
          <a:lstStyle/>
          <a:p>
            <a:pPr>
              <a:lnSpc>
                <a:spcPct val="200000"/>
              </a:lnSpc>
            </a:pPr>
            <a:r>
              <a:rPr lang="en-US" sz="2000" dirty="0">
                <a:solidFill>
                  <a:srgbClr val="292929"/>
                </a:solidFill>
                <a:effectLst/>
                <a:latin typeface="Adobe Clean" panose="020B0503020404020204"/>
              </a:rPr>
              <a:t>Let’s say we have 2 topics that can be classified as </a:t>
            </a:r>
            <a:r>
              <a:rPr lang="en-US" sz="2000" dirty="0" err="1">
                <a:solidFill>
                  <a:srgbClr val="292929"/>
                </a:solidFill>
                <a:effectLst/>
                <a:latin typeface="Adobe Clean" panose="020B0503020404020204"/>
              </a:rPr>
              <a:t>CAT_related</a:t>
            </a:r>
            <a:r>
              <a:rPr lang="en-US" sz="2000" dirty="0">
                <a:solidFill>
                  <a:srgbClr val="292929"/>
                </a:solidFill>
                <a:effectLst/>
                <a:latin typeface="Adobe Clean" panose="020B0503020404020204"/>
              </a:rPr>
              <a:t> and </a:t>
            </a:r>
            <a:r>
              <a:rPr lang="en-US" sz="2000" dirty="0" err="1">
                <a:solidFill>
                  <a:srgbClr val="292929"/>
                </a:solidFill>
                <a:effectLst/>
                <a:latin typeface="Adobe Clean" panose="020B0503020404020204"/>
              </a:rPr>
              <a:t>DOG_related</a:t>
            </a:r>
            <a:r>
              <a:rPr lang="en-US" sz="2000" dirty="0">
                <a:solidFill>
                  <a:srgbClr val="292929"/>
                </a:solidFill>
                <a:effectLst/>
                <a:latin typeface="Adobe Clean" panose="020B0503020404020204"/>
              </a:rPr>
              <a:t>. A topic has probabilities for each word, so words such as milk, meow, and kitten, will have a higher probability in the </a:t>
            </a:r>
            <a:r>
              <a:rPr lang="en-US" sz="2000" dirty="0" err="1">
                <a:solidFill>
                  <a:srgbClr val="292929"/>
                </a:solidFill>
                <a:effectLst/>
                <a:latin typeface="Adobe Clean" panose="020B0503020404020204"/>
              </a:rPr>
              <a:t>CAT_related</a:t>
            </a:r>
            <a:r>
              <a:rPr lang="en-US" sz="2000" dirty="0">
                <a:solidFill>
                  <a:srgbClr val="292929"/>
                </a:solidFill>
                <a:effectLst/>
                <a:latin typeface="Adobe Clean" panose="020B0503020404020204"/>
              </a:rPr>
              <a:t> topic than in the </a:t>
            </a:r>
            <a:r>
              <a:rPr lang="en-US" sz="2000" dirty="0" err="1">
                <a:solidFill>
                  <a:srgbClr val="292929"/>
                </a:solidFill>
                <a:effectLst/>
                <a:latin typeface="Adobe Clean" panose="020B0503020404020204"/>
              </a:rPr>
              <a:t>DOG_related</a:t>
            </a:r>
            <a:r>
              <a:rPr lang="en-US" sz="2000" dirty="0">
                <a:solidFill>
                  <a:srgbClr val="292929"/>
                </a:solidFill>
                <a:effectLst/>
                <a:latin typeface="Adobe Clean" panose="020B0503020404020204"/>
              </a:rPr>
              <a:t> one. The </a:t>
            </a:r>
            <a:r>
              <a:rPr lang="en-US" sz="2000" dirty="0" err="1">
                <a:solidFill>
                  <a:srgbClr val="292929"/>
                </a:solidFill>
                <a:effectLst/>
                <a:latin typeface="Adobe Clean" panose="020B0503020404020204"/>
              </a:rPr>
              <a:t>DOG_related</a:t>
            </a:r>
            <a:r>
              <a:rPr lang="en-US" sz="2000" dirty="0">
                <a:solidFill>
                  <a:srgbClr val="292929"/>
                </a:solidFill>
                <a:effectLst/>
                <a:latin typeface="Adobe Clean" panose="020B0503020404020204"/>
              </a:rPr>
              <a:t> topic, likewise, will have high probabilities for words such as puppy, bark, and bone.</a:t>
            </a:r>
          </a:p>
          <a:p>
            <a:pPr algn="l">
              <a:lnSpc>
                <a:spcPct val="200000"/>
              </a:lnSpc>
            </a:pPr>
            <a:r>
              <a:rPr lang="en-US" sz="2000" dirty="0">
                <a:solidFill>
                  <a:srgbClr val="292929"/>
                </a:solidFill>
                <a:latin typeface="Adobe Clean" panose="020B0503020404020204"/>
              </a:rPr>
              <a:t>If we have a document containing the following sentence:</a:t>
            </a:r>
          </a:p>
          <a:p>
            <a:pPr algn="l">
              <a:lnSpc>
                <a:spcPct val="200000"/>
              </a:lnSpc>
            </a:pPr>
            <a:r>
              <a:rPr lang="en-US" sz="2000" dirty="0">
                <a:solidFill>
                  <a:srgbClr val="292929"/>
                </a:solidFill>
                <a:latin typeface="Adobe Clean" panose="020B0503020404020204"/>
              </a:rPr>
              <a:t>“Dogs like to chew on bones and fetch sticks. Puppies drink milk. Both like to bark.”</a:t>
            </a:r>
          </a:p>
          <a:p>
            <a:pPr algn="l">
              <a:lnSpc>
                <a:spcPct val="200000"/>
              </a:lnSpc>
            </a:pPr>
            <a:r>
              <a:rPr lang="en-US" sz="2000" dirty="0">
                <a:solidFill>
                  <a:srgbClr val="292929"/>
                </a:solidFill>
                <a:latin typeface="Adobe Clean" panose="020B0503020404020204"/>
              </a:rPr>
              <a:t>We can easily say it belongs to topic </a:t>
            </a:r>
            <a:r>
              <a:rPr lang="en-US" sz="2000" dirty="0" err="1">
                <a:solidFill>
                  <a:srgbClr val="292929"/>
                </a:solidFill>
                <a:latin typeface="Adobe Clean" panose="020B0503020404020204"/>
              </a:rPr>
              <a:t>DOG_related</a:t>
            </a:r>
            <a:r>
              <a:rPr lang="en-US" sz="2000" dirty="0">
                <a:solidFill>
                  <a:srgbClr val="292929"/>
                </a:solidFill>
                <a:latin typeface="Adobe Clean" panose="020B0503020404020204"/>
              </a:rPr>
              <a:t> because it contains words such as Dogs, bones, puppies, and bark.  Even though it contains the word milk which belongs to the topic </a:t>
            </a:r>
            <a:r>
              <a:rPr lang="en-US" sz="2000" dirty="0" err="1">
                <a:solidFill>
                  <a:srgbClr val="292929"/>
                </a:solidFill>
                <a:latin typeface="Adobe Clean" panose="020B0503020404020204"/>
              </a:rPr>
              <a:t>CAT_related</a:t>
            </a:r>
            <a:r>
              <a:rPr lang="en-US" sz="2000" dirty="0">
                <a:solidFill>
                  <a:srgbClr val="292929"/>
                </a:solidFill>
                <a:latin typeface="Adobe Clean" panose="020B0503020404020204"/>
              </a:rPr>
              <a:t>, the document belongs to </a:t>
            </a:r>
            <a:r>
              <a:rPr lang="en-US" sz="2000" dirty="0" err="1">
                <a:solidFill>
                  <a:srgbClr val="292929"/>
                </a:solidFill>
                <a:latin typeface="Adobe Clean" panose="020B0503020404020204"/>
              </a:rPr>
              <a:t>DOG_related</a:t>
            </a:r>
            <a:r>
              <a:rPr lang="en-US" sz="2000" dirty="0">
                <a:solidFill>
                  <a:srgbClr val="292929"/>
                </a:solidFill>
                <a:latin typeface="Adobe Clean" panose="020B0503020404020204"/>
              </a:rPr>
              <a:t> as more words match with it.</a:t>
            </a:r>
          </a:p>
          <a:p>
            <a:pPr>
              <a:lnSpc>
                <a:spcPct val="200000"/>
              </a:lnSpc>
            </a:pPr>
            <a:endParaRPr lang="en-IN" sz="2000" dirty="0">
              <a:latin typeface="Adobe Clean" panose="020B0503020404020204"/>
            </a:endParaRPr>
          </a:p>
        </p:txBody>
      </p:sp>
    </p:spTree>
    <p:extLst>
      <p:ext uri="{BB962C8B-B14F-4D97-AF65-F5344CB8AC3E}">
        <p14:creationId xmlns:p14="http://schemas.microsoft.com/office/powerpoint/2010/main" val="38236816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AE2701A-ED69-4FD8-AE33-5CE23CC0145B}"/>
              </a:ext>
            </a:extLst>
          </p:cNvPr>
          <p:cNvSpPr>
            <a:spLocks noGrp="1"/>
          </p:cNvSpPr>
          <p:nvPr>
            <p:ph type="title"/>
          </p:nvPr>
        </p:nvSpPr>
        <p:spPr/>
        <p:txBody>
          <a:bodyPr/>
          <a:lstStyle/>
          <a:p>
            <a:pPr>
              <a:lnSpc>
                <a:spcPct val="150000"/>
              </a:lnSpc>
            </a:pPr>
            <a:r>
              <a:rPr lang="en-US" sz="2800" b="1" dirty="0"/>
              <a:t>Steps Performed for model</a:t>
            </a:r>
          </a:p>
        </p:txBody>
      </p:sp>
      <p:graphicFrame>
        <p:nvGraphicFramePr>
          <p:cNvPr id="18" name="Content Placeholder 17">
            <a:extLst>
              <a:ext uri="{FF2B5EF4-FFF2-40B4-BE49-F238E27FC236}">
                <a16:creationId xmlns:a16="http://schemas.microsoft.com/office/drawing/2014/main" id="{F6D74452-3459-638A-F594-1681772D0F39}"/>
              </a:ext>
            </a:extLst>
          </p:cNvPr>
          <p:cNvGraphicFramePr>
            <a:graphicFrameLocks noGrp="1"/>
          </p:cNvGraphicFramePr>
          <p:nvPr>
            <p:ph idx="1"/>
            <p:extLst>
              <p:ext uri="{D42A27DB-BD31-4B8C-83A1-F6EECF244321}">
                <p14:modId xmlns:p14="http://schemas.microsoft.com/office/powerpoint/2010/main" val="2094712383"/>
              </p:ext>
            </p:extLst>
          </p:nvPr>
        </p:nvGraphicFramePr>
        <p:xfrm>
          <a:off x="304800" y="1192213"/>
          <a:ext cx="1167765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479790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AE2701A-ED69-4FD8-AE33-5CE23CC0145B}"/>
              </a:ext>
            </a:extLst>
          </p:cNvPr>
          <p:cNvSpPr>
            <a:spLocks noGrp="1"/>
          </p:cNvSpPr>
          <p:nvPr>
            <p:ph type="title"/>
          </p:nvPr>
        </p:nvSpPr>
        <p:spPr/>
        <p:txBody>
          <a:bodyPr/>
          <a:lstStyle/>
          <a:p>
            <a:pPr>
              <a:lnSpc>
                <a:spcPct val="150000"/>
              </a:lnSpc>
            </a:pPr>
            <a:r>
              <a:rPr lang="en-US" sz="2800" b="1" dirty="0"/>
              <a:t>Steps to execute code</a:t>
            </a:r>
          </a:p>
        </p:txBody>
      </p:sp>
      <p:graphicFrame>
        <p:nvGraphicFramePr>
          <p:cNvPr id="4" name="Content Placeholder 3">
            <a:extLst>
              <a:ext uri="{FF2B5EF4-FFF2-40B4-BE49-F238E27FC236}">
                <a16:creationId xmlns:a16="http://schemas.microsoft.com/office/drawing/2014/main" id="{F4DEF7C4-94C3-A00F-B79B-567EDB82B300}"/>
              </a:ext>
            </a:extLst>
          </p:cNvPr>
          <p:cNvGraphicFramePr>
            <a:graphicFrameLocks noGrp="1"/>
          </p:cNvGraphicFramePr>
          <p:nvPr>
            <p:ph idx="1"/>
            <p:extLst>
              <p:ext uri="{D42A27DB-BD31-4B8C-83A1-F6EECF244321}">
                <p14:modId xmlns:p14="http://schemas.microsoft.com/office/powerpoint/2010/main" val="3425445756"/>
              </p:ext>
            </p:extLst>
          </p:nvPr>
        </p:nvGraphicFramePr>
        <p:xfrm>
          <a:off x="304800" y="1192213"/>
          <a:ext cx="11579225"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088022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90833-81FD-4547-8DFE-7891404F1758}"/>
              </a:ext>
            </a:extLst>
          </p:cNvPr>
          <p:cNvSpPr>
            <a:spLocks noGrp="1"/>
          </p:cNvSpPr>
          <p:nvPr>
            <p:ph type="title"/>
          </p:nvPr>
        </p:nvSpPr>
        <p:spPr/>
        <p:txBody>
          <a:bodyPr/>
          <a:lstStyle/>
          <a:p>
            <a:r>
              <a:rPr lang="en-IN" b="1" dirty="0"/>
              <a:t>References</a:t>
            </a:r>
          </a:p>
        </p:txBody>
      </p:sp>
      <p:sp>
        <p:nvSpPr>
          <p:cNvPr id="4" name="Content Placeholder 3">
            <a:extLst>
              <a:ext uri="{FF2B5EF4-FFF2-40B4-BE49-F238E27FC236}">
                <a16:creationId xmlns:a16="http://schemas.microsoft.com/office/drawing/2014/main" id="{CFB4F272-7D6F-4580-13A9-5F36B0A72EE3}"/>
              </a:ext>
            </a:extLst>
          </p:cNvPr>
          <p:cNvSpPr>
            <a:spLocks noGrp="1"/>
          </p:cNvSpPr>
          <p:nvPr>
            <p:ph idx="1"/>
          </p:nvPr>
        </p:nvSpPr>
        <p:spPr/>
        <p:txBody>
          <a:bodyPr/>
          <a:lstStyle/>
          <a:p>
            <a:r>
              <a:rPr lang="en-US" dirty="0">
                <a:hlinkClick r:id="rId3"/>
              </a:rPr>
              <a:t>https://towardsdatascience.com/latent-dirichlet-allocation-lda-9d1cd064ffa2</a:t>
            </a:r>
            <a:endParaRPr lang="en-US" dirty="0"/>
          </a:p>
          <a:p>
            <a:r>
              <a:rPr lang="en-US" dirty="0">
                <a:hlinkClick r:id="rId4"/>
              </a:rPr>
              <a:t>https://www.geeksforgeeks.org/latent-dirichlet-allocation/</a:t>
            </a:r>
            <a:endParaRPr lang="en-US" dirty="0"/>
          </a:p>
          <a:p>
            <a:r>
              <a:rPr lang="en-US" dirty="0">
                <a:hlinkClick r:id="rId5"/>
              </a:rPr>
              <a:t>https://www.analyticsvidhya.com/blog/2021/05/topic-modelling-in-natural-language-processing/</a:t>
            </a:r>
            <a:endParaRPr lang="en-US" dirty="0"/>
          </a:p>
          <a:p>
            <a:r>
              <a:rPr lang="en-US" dirty="0">
                <a:hlinkClick r:id="rId6"/>
              </a:rPr>
              <a:t>https://towardsdatascience.com/topic-modeling-and-latent-dirichlet-allocation-in-python-9bf156893c24</a:t>
            </a:r>
            <a:endParaRPr lang="en-US" dirty="0"/>
          </a:p>
          <a:p>
            <a:endParaRPr lang="en-US" dirty="0"/>
          </a:p>
          <a:p>
            <a:endParaRPr lang="en-US" dirty="0"/>
          </a:p>
          <a:p>
            <a:pPr>
              <a:lnSpc>
                <a:spcPct val="200000"/>
              </a:lnSpc>
            </a:pPr>
            <a:endParaRPr lang="en-US" dirty="0"/>
          </a:p>
        </p:txBody>
      </p:sp>
    </p:spTree>
    <p:extLst>
      <p:ext uri="{BB962C8B-B14F-4D97-AF65-F5344CB8AC3E}">
        <p14:creationId xmlns:p14="http://schemas.microsoft.com/office/powerpoint/2010/main" val="2011073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0"/>
  <p:tag name="MMPROD_UIDATA" val="&lt;database version=&quot;10.0&quot;&gt;&lt;object type=&quot;1&quot; unique_id=&quot;10001&quot;&gt;&lt;object type=&quot;8&quot; unique_id=&quot;717709&quot;&gt;&lt;/object&gt;&lt;object type=&quot;2&quot; unique_id=&quot;717710&quot;&gt;&lt;object type=&quot;3&quot; unique_id=&quot;717712&quot;&gt;&lt;property id=&quot;20148&quot; value=&quot;5&quot;/&gt;&lt;property id=&quot;20300&quot; value=&quot;Slide 10 - &amp;quot;Section Divider&amp;quot;&quot;/&gt;&lt;property id=&quot;20307&quot; value=&quot;274&quot;/&gt;&lt;/object&gt;&lt;object type=&quot;3&quot; unique_id=&quot;717778&quot;&gt;&lt;property id=&quot;20148&quot; value=&quot;5&quot;/&gt;&lt;property id=&quot;20300&quot; value=&quot;Slide 1 - &amp;quot;Title Slide&amp;quot;&quot;/&gt;&lt;property id=&quot;20307&quot; value=&quot;273&quot;/&gt;&lt;/object&gt;&lt;object type=&quot;3&quot; unique_id=&quot;717779&quot;&gt;&lt;property id=&quot;20148&quot; value=&quot;5&quot;/&gt;&lt;property id=&quot;20300&quot; value=&quot;Slide 20&quot;/&gt;&lt;property id=&quot;20307&quot; value=&quot;278&quot;/&gt;&lt;/object&gt;&lt;object type=&quot;3&quot; unique_id=&quot;717900&quot;&gt;&lt;property id=&quot;20148&quot; value=&quot;5&quot;/&gt;&lt;property id=&quot;20300&quot; value=&quot;Slide 11 - &amp;quot;White Content Slide – Graphic Footer &amp;amp; Header&amp;quot;&quot;/&gt;&lt;property id=&quot;20307&quot; value=&quot;279&quot;/&gt;&lt;/object&gt;&lt;object type=&quot;3&quot; unique_id=&quot;717901&quot;&gt;&lt;property id=&quot;20148&quot; value=&quot;5&quot;/&gt;&lt;property id=&quot;20300&quot; value=&quot;Slide 18 - &amp;quot;Black Content Slide – Graphic Footer&amp;quot;&quot;/&gt;&lt;property id=&quot;20307&quot; value=&quot;283&quot;/&gt;&lt;/object&gt;&lt;object type=&quot;3&quot; unique_id=&quot;717902&quot;&gt;&lt;property id=&quot;20148&quot; value=&quot;5&quot;/&gt;&lt;property id=&quot;20300&quot; value=&quot;Slide 17 - &amp;quot;Black Content Slide – Graphic Footer &amp;amp; Header&amp;quot;&quot;/&gt;&lt;property id=&quot;20307&quot; value=&quot;284&quot;/&gt;&lt;/object&gt;&lt;object type=&quot;3&quot; unique_id=&quot;1709896&quot;&gt;&lt;property id=&quot;20148&quot; value=&quot;5&quot;/&gt;&lt;property id=&quot;20300&quot; value=&quot;Slide 2 - &amp;quot;Additional templates and more resources&amp;quot;&quot;/&gt;&lt;property id=&quot;20307&quot; value=&quot;292&quot;/&gt;&lt;/object&gt;&lt;object type=&quot;3&quot; unique_id=&quot;1709897&quot;&gt;&lt;property id=&quot;20148&quot; value=&quot;5&quot;/&gt;&lt;property id=&quot;20300&quot; value=&quot;Slide 3 - &amp;quot;How to save this as a template within PowerPoint&amp;quot;&quot;/&gt;&lt;property id=&quot;20307&quot; value=&quot;293&quot;/&gt;&lt;/object&gt;&lt;object type=&quot;3&quot; unique_id=&quot;1709898&quot;&gt;&lt;property id=&quot;20148&quot; value=&quot;5&quot;/&gt;&lt;property id=&quot;20300&quot; value=&quot;Slide 5 - &amp;quot;Using Footers and Page Numbers&amp;quot;&quot;/&gt;&lt;property id=&quot;20307&quot; value=&quot;294&quot;/&gt;&lt;/object&gt;&lt;object type=&quot;3&quot; unique_id=&quot;1709899&quot;&gt;&lt;property id=&quot;20148&quot; value=&quot;5&quot;/&gt;&lt;property id=&quot;20300&quot; value=&quot;Slide 12 - &amp;quot;White Content Slide – Graphic Footer&amp;quot;&quot;/&gt;&lt;property id=&quot;20307&quot; value=&quot;287&quot;/&gt;&lt;/object&gt;&lt;object type=&quot;3&quot; unique_id=&quot;1709900&quot;&gt;&lt;property id=&quot;20148&quot; value=&quot;5&quot;/&gt;&lt;property id=&quot;20300&quot; value=&quot;Slide 13 - &amp;quot;White Content Slide – No Graphic&amp;quot;&quot;/&gt;&lt;property id=&quot;20307&quot; value=&quot;288&quot;/&gt;&lt;/object&gt;&lt;object type=&quot;3&quot; unique_id=&quot;1709901&quot;&gt;&lt;property id=&quot;20148&quot; value=&quot;5&quot;/&gt;&lt;property id=&quot;20300&quot; value=&quot;Slide 14 - &amp;quot;Gray Content Slide – Graphic Footer &amp;amp; Header&amp;quot;&quot;/&gt;&lt;property id=&quot;20307&quot; value=&quot;289&quot;/&gt;&lt;/object&gt;&lt;object type=&quot;3&quot; unique_id=&quot;1709902&quot;&gt;&lt;property id=&quot;20148&quot; value=&quot;5&quot;/&gt;&lt;property id=&quot;20300&quot; value=&quot;Slide 15 - &amp;quot;Gray Content Slide – Graphic Footer&amp;quot;&quot;/&gt;&lt;property id=&quot;20307&quot; value=&quot;290&quot;/&gt;&lt;/object&gt;&lt;object type=&quot;3&quot; unique_id=&quot;1709903&quot;&gt;&lt;property id=&quot;20148&quot; value=&quot;5&quot;/&gt;&lt;property id=&quot;20300&quot; value=&quot;Slide 16 - &amp;quot;Gray Content Slide – No Graphic&amp;quot;&quot;/&gt;&lt;property id=&quot;20307&quot; value=&quot;291&quot;/&gt;&lt;/object&gt;&lt;object type=&quot;3&quot; unique_id=&quot;1709904&quot;&gt;&lt;property id=&quot;20148&quot; value=&quot;5&quot;/&gt;&lt;property id=&quot;20300&quot; value=&quot;Slide 19 - &amp;quot;Black Content Slide – No Graphic&amp;quot;&quot;/&gt;&lt;property id=&quot;20307&quot; value=&quot;286&quot;/&gt;&lt;/object&gt;&lt;object type=&quot;3&quot; unique_id=&quot;1709905&quot;&gt;&lt;property id=&quot;20148&quot; value=&quot;5&quot;/&gt;&lt;property id=&quot;20300&quot; value=&quot;Slide 21&quot;/&gt;&lt;property id=&quot;20307&quot; value=&quot;285&quot;/&gt;&lt;/object&gt;&lt;object type=&quot;3&quot; unique_id=&quot;1710038&quot;&gt;&lt;property id=&quot;20148&quot; value=&quot;5&quot;/&gt;&lt;property id=&quot;20300&quot; value=&quot;Slide 4 - &amp;quot;Slide layouts&amp;quot;&quot;/&gt;&lt;property id=&quot;20307&quot; value=&quot;298&quot;/&gt;&lt;/object&gt;&lt;object type=&quot;3&quot; unique_id=&quot;1710039&quot;&gt;&lt;property id=&quot;20148&quot; value=&quot;5&quot;/&gt;&lt;property id=&quot;20300&quot; value=&quot;Slide 6 - &amp;quot;Converting old presentations to this template&amp;quot;&quot;/&gt;&lt;property id=&quot;20307&quot; value=&quot;295&quot;/&gt;&lt;/object&gt;&lt;object type=&quot;3&quot; unique_id=&quot;1710040&quot;&gt;&lt;property id=&quot;20148&quot; value=&quot;5&quot;/&gt;&lt;property id=&quot;20300&quot; value=&quot;Slide 7 - &amp;quot;Bar charts&amp;quot;&quot;/&gt;&lt;property id=&quot;20307&quot; value=&quot;296&quot;/&gt;&lt;/object&gt;&lt;object type=&quot;3&quot; unique_id=&quot;1710041&quot;&gt;&lt;property id=&quot;20148&quot; value=&quot;5&quot;/&gt;&lt;property id=&quot;20300&quot; value=&quot;Slide 8 - &amp;quot;Pie charts&amp;quot;&quot;/&gt;&lt;property id=&quot;20307&quot; value=&quot;297&quot;/&gt;&lt;/object&gt;&lt;object type=&quot;3&quot; unique_id=&quot;1710042&quot;&gt;&lt;property id=&quot;20148&quot; value=&quot;5&quot;/&gt;&lt;property id=&quot;20300&quot; value=&quot;Slide 9 - &amp;quot;Color palette&amp;quot;&quot;/&gt;&lt;property id=&quot;20307&quot; value=&quot;299&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PoTfXtzKILukXbZxmKaSQ"/>
</p:tagLst>
</file>

<file path=ppt/theme/theme1.xml><?xml version="1.0" encoding="utf-8"?>
<a:theme xmlns:a="http://schemas.openxmlformats.org/drawingml/2006/main" name="Adobe Master 2020">
  <a:themeElements>
    <a:clrScheme name="Custom 1">
      <a:dk1>
        <a:srgbClr val="000000"/>
      </a:dk1>
      <a:lt1>
        <a:srgbClr val="FFFFFF"/>
      </a:lt1>
      <a:dk2>
        <a:srgbClr val="2C2C2C"/>
      </a:dk2>
      <a:lt2>
        <a:srgbClr val="F5F5F5"/>
      </a:lt2>
      <a:accent1>
        <a:srgbClr val="009C3B"/>
      </a:accent1>
      <a:accent2>
        <a:srgbClr val="2799F6"/>
      </a:accent2>
      <a:accent3>
        <a:srgbClr val="E63888"/>
      </a:accent3>
      <a:accent4>
        <a:srgbClr val="E9740A"/>
      </a:accent4>
      <a:accent5>
        <a:srgbClr val="FFCE2E"/>
      </a:accent5>
      <a:accent6>
        <a:srgbClr val="EB1000"/>
      </a:accent6>
      <a:hlink>
        <a:srgbClr val="5F5F5F"/>
      </a:hlink>
      <a:folHlink>
        <a:srgbClr val="919191"/>
      </a:folHlink>
    </a:clrScheme>
    <a:fontScheme name="Adobe 2020">
      <a:majorFont>
        <a:latin typeface="Adobe Clean ExtraBold"/>
        <a:ea typeface=""/>
        <a:cs typeface=""/>
      </a:majorFont>
      <a:minorFont>
        <a:latin typeface="Adobe Clean SemiLight"/>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75000"/>
          </a:schemeClr>
        </a:solidFill>
        <a:ln w="12700">
          <a:solidFill>
            <a:schemeClr val="bg1">
              <a:lumMod val="75000"/>
            </a:schemeClr>
          </a:solidFill>
        </a:ln>
      </a:spPr>
      <a:bodyPr lIns="45720" tIns="45720" rIns="45720" bIns="45720" rtlCol="0" anchor="ctr"/>
      <a:lstStyle>
        <a:defPPr algn="l">
          <a:spcBef>
            <a:spcPts val="1200"/>
          </a:spcBef>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5497</TotalTime>
  <Words>770</Words>
  <Application>Microsoft Office PowerPoint</Application>
  <PresentationFormat>Custom</PresentationFormat>
  <Paragraphs>71</Paragraphs>
  <Slides>10</Slides>
  <Notes>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1" baseType="lpstr">
      <vt:lpstr>Adobe Clean</vt:lpstr>
      <vt:lpstr>Adobe Clean ExtraBold</vt:lpstr>
      <vt:lpstr>Adobe Clean SemiLight</vt:lpstr>
      <vt:lpstr>Arial</vt:lpstr>
      <vt:lpstr>Calibri</vt:lpstr>
      <vt:lpstr>Georgia</vt:lpstr>
      <vt:lpstr>Segoe UI</vt:lpstr>
      <vt:lpstr>Segoe UI Light</vt:lpstr>
      <vt:lpstr>Wingdings</vt:lpstr>
      <vt:lpstr>Adobe Master 2020</vt:lpstr>
      <vt:lpstr>think-cell Slide</vt:lpstr>
      <vt:lpstr>LDA Based Recommendation Engine for Adobe Learning Manager</vt:lpstr>
      <vt:lpstr>Index</vt:lpstr>
      <vt:lpstr>Objective</vt:lpstr>
      <vt:lpstr>Proposed Solution</vt:lpstr>
      <vt:lpstr>Topic Modelling &amp; LDA</vt:lpstr>
      <vt:lpstr>Topic Modelling &amp; LDA</vt:lpstr>
      <vt:lpstr>Steps Performed for model</vt:lpstr>
      <vt:lpstr>Steps to execute code</vt:lpstr>
      <vt:lpstr>References</vt:lpstr>
      <vt:lpstr>Thank You</vt:lpstr>
    </vt:vector>
  </TitlesOfParts>
  <Company>Adob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emplate - Thomas Wirtz</dc:title>
  <dc:creator>Scott Benson</dc:creator>
  <cp:lastModifiedBy>Chirag Kulshreshtha</cp:lastModifiedBy>
  <cp:revision>1081</cp:revision>
  <dcterms:created xsi:type="dcterms:W3CDTF">2009-08-20T18:55:32Z</dcterms:created>
  <dcterms:modified xsi:type="dcterms:W3CDTF">2022-12-04T16:47:59Z</dcterms:modified>
</cp:coreProperties>
</file>